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1"/>
  </p:notesMasterIdLst>
  <p:handoutMasterIdLst>
    <p:handoutMasterId r:id="rId32"/>
  </p:handoutMasterIdLst>
  <p:sldIdLst>
    <p:sldId id="257" r:id="rId2"/>
    <p:sldId id="271" r:id="rId3"/>
    <p:sldId id="292" r:id="rId4"/>
    <p:sldId id="294" r:id="rId5"/>
    <p:sldId id="283" r:id="rId6"/>
    <p:sldId id="279" r:id="rId7"/>
    <p:sldId id="278" r:id="rId8"/>
    <p:sldId id="295" r:id="rId9"/>
    <p:sldId id="296" r:id="rId10"/>
    <p:sldId id="297" r:id="rId11"/>
    <p:sldId id="280" r:id="rId12"/>
    <p:sldId id="281" r:id="rId13"/>
    <p:sldId id="282" r:id="rId14"/>
    <p:sldId id="272" r:id="rId15"/>
    <p:sldId id="275" r:id="rId16"/>
    <p:sldId id="273" r:id="rId17"/>
    <p:sldId id="276" r:id="rId18"/>
    <p:sldId id="301" r:id="rId19"/>
    <p:sldId id="293" r:id="rId20"/>
    <p:sldId id="284" r:id="rId21"/>
    <p:sldId id="274" r:id="rId22"/>
    <p:sldId id="277" r:id="rId23"/>
    <p:sldId id="285" r:id="rId24"/>
    <p:sldId id="286" r:id="rId25"/>
    <p:sldId id="287" r:id="rId26"/>
    <p:sldId id="288" r:id="rId27"/>
    <p:sldId id="298" r:id="rId28"/>
    <p:sldId id="299" r:id="rId29"/>
    <p:sldId id="300" r:id="rId30"/>
  </p:sldIdLst>
  <p:sldSz cx="9144000" cy="5143500" type="screen16x9"/>
  <p:notesSz cx="6858000" cy="9144000"/>
  <p:custDataLst>
    <p:tags r:id="rId3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1F6B"/>
    <a:srgbClr val="F7472A"/>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BEADA7-45E8-47B6-92A0-3486628C8168}" v="3" dt="2022-11-04T14:50:20.051"/>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83" d="100"/>
          <a:sy n="83" d="100"/>
        </p:scale>
        <p:origin x="104" y="52"/>
      </p:cViewPr>
      <p:guideLst>
        <p:guide orient="horz" pos="2878"/>
        <p:guide orient="horz" pos="744"/>
        <p:guide pos="2880"/>
        <p:guide pos="271"/>
        <p:guide pos="5489"/>
      </p:guideLst>
    </p:cSldViewPr>
  </p:slideViewPr>
  <p:outlineViewPr>
    <p:cViewPr>
      <p:scale>
        <a:sx n="33" d="100"/>
        <a:sy n="33" d="100"/>
      </p:scale>
      <p:origin x="0" y="-375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5" d="100"/>
          <a:sy n="125" d="100"/>
        </p:scale>
        <p:origin x="-2208" y="15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Batenburg" userId="c6030a91-3587-4b0c-9a04-30c274d4b5d3" providerId="ADAL" clId="{6F39825D-C84F-4FE0-BC11-0A21A573BDA4}"/>
    <pc:docChg chg="undo redo custSel addSld delSld modSld sldOrd">
      <pc:chgData name="Andre Batenburg" userId="c6030a91-3587-4b0c-9a04-30c274d4b5d3" providerId="ADAL" clId="{6F39825D-C84F-4FE0-BC11-0A21A573BDA4}" dt="2021-07-23T14:27:55.261" v="2770" actId="6549"/>
      <pc:docMkLst>
        <pc:docMk/>
      </pc:docMkLst>
      <pc:sldChg chg="modSp mod">
        <pc:chgData name="Andre Batenburg" userId="c6030a91-3587-4b0c-9a04-30c274d4b5d3" providerId="ADAL" clId="{6F39825D-C84F-4FE0-BC11-0A21A573BDA4}" dt="2021-07-15T15:44:46.056" v="2578" actId="6549"/>
        <pc:sldMkLst>
          <pc:docMk/>
          <pc:sldMk cId="3434545749" sldId="257"/>
        </pc:sldMkLst>
        <pc:spChg chg="mod">
          <ac:chgData name="Andre Batenburg" userId="c6030a91-3587-4b0c-9a04-30c274d4b5d3" providerId="ADAL" clId="{6F39825D-C84F-4FE0-BC11-0A21A573BDA4}" dt="2021-07-15T15:44:46.056" v="2578" actId="6549"/>
          <ac:spMkLst>
            <pc:docMk/>
            <pc:sldMk cId="3434545749" sldId="257"/>
            <ac:spMk id="5" creationId="{00000000-0000-0000-0000-000000000000}"/>
          </ac:spMkLst>
        </pc:spChg>
      </pc:sldChg>
      <pc:sldChg chg="modSp mod">
        <pc:chgData name="Andre Batenburg" userId="c6030a91-3587-4b0c-9a04-30c274d4b5d3" providerId="ADAL" clId="{6F39825D-C84F-4FE0-BC11-0A21A573BDA4}" dt="2021-07-23T14:27:55.261" v="2770" actId="6549"/>
        <pc:sldMkLst>
          <pc:docMk/>
          <pc:sldMk cId="3850271385" sldId="271"/>
        </pc:sldMkLst>
        <pc:spChg chg="mod">
          <ac:chgData name="Andre Batenburg" userId="c6030a91-3587-4b0c-9a04-30c274d4b5d3" providerId="ADAL" clId="{6F39825D-C84F-4FE0-BC11-0A21A573BDA4}" dt="2021-07-23T14:17:14.398" v="2767" actId="20577"/>
          <ac:spMkLst>
            <pc:docMk/>
            <pc:sldMk cId="3850271385" sldId="271"/>
            <ac:spMk id="4" creationId="{4A7D0E74-ED2F-40F1-AC19-B7534DC6379E}"/>
          </ac:spMkLst>
        </pc:spChg>
        <pc:spChg chg="mod">
          <ac:chgData name="Andre Batenburg" userId="c6030a91-3587-4b0c-9a04-30c274d4b5d3" providerId="ADAL" clId="{6F39825D-C84F-4FE0-BC11-0A21A573BDA4}" dt="2021-07-23T14:27:55.261" v="2770" actId="6549"/>
          <ac:spMkLst>
            <pc:docMk/>
            <pc:sldMk cId="3850271385" sldId="271"/>
            <ac:spMk id="5" creationId="{C395AE4E-A7D8-464A-9B23-4747629AD39C}"/>
          </ac:spMkLst>
        </pc:spChg>
      </pc:sldChg>
      <pc:sldChg chg="modSp mod">
        <pc:chgData name="Andre Batenburg" userId="c6030a91-3587-4b0c-9a04-30c274d4b5d3" providerId="ADAL" clId="{6F39825D-C84F-4FE0-BC11-0A21A573BDA4}" dt="2021-07-23T07:38:50.029" v="2657" actId="20577"/>
        <pc:sldMkLst>
          <pc:docMk/>
          <pc:sldMk cId="3529786210" sldId="273"/>
        </pc:sldMkLst>
        <pc:spChg chg="mod">
          <ac:chgData name="Andre Batenburg" userId="c6030a91-3587-4b0c-9a04-30c274d4b5d3" providerId="ADAL" clId="{6F39825D-C84F-4FE0-BC11-0A21A573BDA4}" dt="2021-07-23T07:38:50.029" v="2657" actId="20577"/>
          <ac:spMkLst>
            <pc:docMk/>
            <pc:sldMk cId="3529786210" sldId="273"/>
            <ac:spMk id="3" creationId="{C211C2AD-0BAA-4F9C-BB4C-FBEAA913AE45}"/>
          </ac:spMkLst>
        </pc:spChg>
      </pc:sldChg>
      <pc:sldChg chg="modSp mod">
        <pc:chgData name="Andre Batenburg" userId="c6030a91-3587-4b0c-9a04-30c274d4b5d3" providerId="ADAL" clId="{6F39825D-C84F-4FE0-BC11-0A21A573BDA4}" dt="2021-07-23T14:02:19.828" v="2751" actId="20577"/>
        <pc:sldMkLst>
          <pc:docMk/>
          <pc:sldMk cId="3225462457" sldId="274"/>
        </pc:sldMkLst>
        <pc:spChg chg="mod">
          <ac:chgData name="Andre Batenburg" userId="c6030a91-3587-4b0c-9a04-30c274d4b5d3" providerId="ADAL" clId="{6F39825D-C84F-4FE0-BC11-0A21A573BDA4}" dt="2021-07-23T14:02:19.828" v="2751" actId="20577"/>
          <ac:spMkLst>
            <pc:docMk/>
            <pc:sldMk cId="3225462457" sldId="274"/>
            <ac:spMk id="3" creationId="{C20D9B0B-D5CA-4A31-8CDF-FC0F5316CF08}"/>
          </ac:spMkLst>
        </pc:spChg>
      </pc:sldChg>
      <pc:sldChg chg="modSp mod ord">
        <pc:chgData name="Andre Batenburg" userId="c6030a91-3587-4b0c-9a04-30c274d4b5d3" providerId="ADAL" clId="{6F39825D-C84F-4FE0-BC11-0A21A573BDA4}" dt="2021-07-23T07:30:22.885" v="2634" actId="6549"/>
        <pc:sldMkLst>
          <pc:docMk/>
          <pc:sldMk cId="912891240" sldId="280"/>
        </pc:sldMkLst>
        <pc:spChg chg="mod">
          <ac:chgData name="Andre Batenburg" userId="c6030a91-3587-4b0c-9a04-30c274d4b5d3" providerId="ADAL" clId="{6F39825D-C84F-4FE0-BC11-0A21A573BDA4}" dt="2021-07-23T07:30:22.885" v="2634" actId="6549"/>
          <ac:spMkLst>
            <pc:docMk/>
            <pc:sldMk cId="912891240" sldId="280"/>
            <ac:spMk id="3" creationId="{1EE97491-D281-459D-8388-B4E0EC3AAE6C}"/>
          </ac:spMkLst>
        </pc:spChg>
      </pc:sldChg>
      <pc:sldChg chg="ord">
        <pc:chgData name="Andre Batenburg" userId="c6030a91-3587-4b0c-9a04-30c274d4b5d3" providerId="ADAL" clId="{6F39825D-C84F-4FE0-BC11-0A21A573BDA4}" dt="2021-07-14T06:08:36.576" v="235" actId="20578"/>
        <pc:sldMkLst>
          <pc:docMk/>
          <pc:sldMk cId="4145162108" sldId="281"/>
        </pc:sldMkLst>
      </pc:sldChg>
      <pc:sldChg chg="addSp delSp modSp new mod modClrScheme chgLayout">
        <pc:chgData name="Andre Batenburg" userId="c6030a91-3587-4b0c-9a04-30c274d4b5d3" providerId="ADAL" clId="{6F39825D-C84F-4FE0-BC11-0A21A573BDA4}" dt="2021-07-15T14:12:52.691" v="2316" actId="14100"/>
        <pc:sldMkLst>
          <pc:docMk/>
          <pc:sldMk cId="553359527" sldId="282"/>
        </pc:sldMkLst>
        <pc:spChg chg="del">
          <ac:chgData name="Andre Batenburg" userId="c6030a91-3587-4b0c-9a04-30c274d4b5d3" providerId="ADAL" clId="{6F39825D-C84F-4FE0-BC11-0A21A573BDA4}" dt="2021-07-14T06:04:15.159" v="165" actId="931"/>
          <ac:spMkLst>
            <pc:docMk/>
            <pc:sldMk cId="553359527" sldId="282"/>
            <ac:spMk id="2" creationId="{5AC7CBC8-D41C-4656-ADB5-0904E785BE21}"/>
          </ac:spMkLst>
        </pc:spChg>
        <pc:spChg chg="mod">
          <ac:chgData name="Andre Batenburg" userId="c6030a91-3587-4b0c-9a04-30c274d4b5d3" providerId="ADAL" clId="{6F39825D-C84F-4FE0-BC11-0A21A573BDA4}" dt="2021-07-14T06:10:05.985" v="354" actId="20577"/>
          <ac:spMkLst>
            <pc:docMk/>
            <pc:sldMk cId="553359527" sldId="282"/>
            <ac:spMk id="3" creationId="{6A74664F-661B-436E-8A61-5A474F475A5D}"/>
          </ac:spMkLst>
        </pc:spChg>
        <pc:spChg chg="mod ord">
          <ac:chgData name="Andre Batenburg" userId="c6030a91-3587-4b0c-9a04-30c274d4b5d3" providerId="ADAL" clId="{6F39825D-C84F-4FE0-BC11-0A21A573BDA4}" dt="2021-07-14T06:06:08.382" v="185" actId="26606"/>
          <ac:spMkLst>
            <pc:docMk/>
            <pc:sldMk cId="553359527" sldId="282"/>
            <ac:spMk id="4" creationId="{0BEADF2F-6A3F-4EE5-82B1-910EE94D233D}"/>
          </ac:spMkLst>
        </pc:spChg>
        <pc:spChg chg="add del mod">
          <ac:chgData name="Andre Batenburg" userId="c6030a91-3587-4b0c-9a04-30c274d4b5d3" providerId="ADAL" clId="{6F39825D-C84F-4FE0-BC11-0A21A573BDA4}" dt="2021-07-14T06:04:45.027" v="171" actId="931"/>
          <ac:spMkLst>
            <pc:docMk/>
            <pc:sldMk cId="553359527" sldId="282"/>
            <ac:spMk id="8" creationId="{B8134B3B-0AC3-4385-9EC6-CBDA1AC9C9EE}"/>
          </ac:spMkLst>
        </pc:spChg>
        <pc:spChg chg="add del mod">
          <ac:chgData name="Andre Batenburg" userId="c6030a91-3587-4b0c-9a04-30c274d4b5d3" providerId="ADAL" clId="{6F39825D-C84F-4FE0-BC11-0A21A573BDA4}" dt="2021-07-14T06:06:04.159" v="184" actId="478"/>
          <ac:spMkLst>
            <pc:docMk/>
            <pc:sldMk cId="553359527" sldId="282"/>
            <ac:spMk id="12" creationId="{0C09F440-F40D-42FF-BBD5-5FCBD45E09C3}"/>
          </ac:spMkLst>
        </pc:spChg>
        <pc:spChg chg="add del mod">
          <ac:chgData name="Andre Batenburg" userId="c6030a91-3587-4b0c-9a04-30c274d4b5d3" providerId="ADAL" clId="{6F39825D-C84F-4FE0-BC11-0A21A573BDA4}" dt="2021-07-14T06:05:05.462" v="173" actId="26606"/>
          <ac:spMkLst>
            <pc:docMk/>
            <pc:sldMk cId="553359527" sldId="282"/>
            <ac:spMk id="15" creationId="{591F3B08-5781-49E2-B9A0-4F3A36059992}"/>
          </ac:spMkLst>
        </pc:spChg>
        <pc:spChg chg="add del mod">
          <ac:chgData name="Andre Batenburg" userId="c6030a91-3587-4b0c-9a04-30c274d4b5d3" providerId="ADAL" clId="{6F39825D-C84F-4FE0-BC11-0A21A573BDA4}" dt="2021-07-14T06:05:05.462" v="173" actId="26606"/>
          <ac:spMkLst>
            <pc:docMk/>
            <pc:sldMk cId="553359527" sldId="282"/>
            <ac:spMk id="17" creationId="{7368B21D-DC6C-4880-B4CA-FE0F520CC768}"/>
          </ac:spMkLst>
        </pc:spChg>
        <pc:spChg chg="add del mod">
          <ac:chgData name="Andre Batenburg" userId="c6030a91-3587-4b0c-9a04-30c274d4b5d3" providerId="ADAL" clId="{6F39825D-C84F-4FE0-BC11-0A21A573BDA4}" dt="2021-07-14T06:05:05.462" v="173" actId="26606"/>
          <ac:spMkLst>
            <pc:docMk/>
            <pc:sldMk cId="553359527" sldId="282"/>
            <ac:spMk id="19" creationId="{1941C425-03D4-464F-9CB1-EB0213911999}"/>
          </ac:spMkLst>
        </pc:spChg>
        <pc:spChg chg="add del mod">
          <ac:chgData name="Andre Batenburg" userId="c6030a91-3587-4b0c-9a04-30c274d4b5d3" providerId="ADAL" clId="{6F39825D-C84F-4FE0-BC11-0A21A573BDA4}" dt="2021-07-14T06:05:05.462" v="173" actId="26606"/>
          <ac:spMkLst>
            <pc:docMk/>
            <pc:sldMk cId="553359527" sldId="282"/>
            <ac:spMk id="21" creationId="{11CF22A8-8330-46E1-ADF3-13A16AB5806A}"/>
          </ac:spMkLst>
        </pc:spChg>
        <pc:spChg chg="add mod">
          <ac:chgData name="Andre Batenburg" userId="c6030a91-3587-4b0c-9a04-30c274d4b5d3" providerId="ADAL" clId="{6F39825D-C84F-4FE0-BC11-0A21A573BDA4}" dt="2021-07-14T06:06:08.382" v="185" actId="26606"/>
          <ac:spMkLst>
            <pc:docMk/>
            <pc:sldMk cId="553359527" sldId="282"/>
            <ac:spMk id="23" creationId="{0BDD9823-7AFD-45F9-8BA7-0F20ADBB4EA2}"/>
          </ac:spMkLst>
        </pc:spChg>
        <pc:spChg chg="add mod">
          <ac:chgData name="Andre Batenburg" userId="c6030a91-3587-4b0c-9a04-30c274d4b5d3" providerId="ADAL" clId="{6F39825D-C84F-4FE0-BC11-0A21A573BDA4}" dt="2021-07-14T06:06:08.382" v="185" actId="26606"/>
          <ac:spMkLst>
            <pc:docMk/>
            <pc:sldMk cId="553359527" sldId="282"/>
            <ac:spMk id="24" creationId="{5E6B330F-344C-4F92-9905-8D94CA0E1AF6}"/>
          </ac:spMkLst>
        </pc:spChg>
        <pc:spChg chg="add del mod">
          <ac:chgData name="Andre Batenburg" userId="c6030a91-3587-4b0c-9a04-30c274d4b5d3" providerId="ADAL" clId="{6F39825D-C84F-4FE0-BC11-0A21A573BDA4}" dt="2021-07-14T06:05:33.049" v="179" actId="26606"/>
          <ac:spMkLst>
            <pc:docMk/>
            <pc:sldMk cId="553359527" sldId="282"/>
            <ac:spMk id="29" creationId="{3E8E7545-D543-4FA5-A82C-4664F97A68D0}"/>
          </ac:spMkLst>
        </pc:spChg>
        <pc:spChg chg="add del mod">
          <ac:chgData name="Andre Batenburg" userId="c6030a91-3587-4b0c-9a04-30c274d4b5d3" providerId="ADAL" clId="{6F39825D-C84F-4FE0-BC11-0A21A573BDA4}" dt="2021-07-14T06:05:33.049" v="179" actId="26606"/>
          <ac:spMkLst>
            <pc:docMk/>
            <pc:sldMk cId="553359527" sldId="282"/>
            <ac:spMk id="31" creationId="{8CC8752C-1ECD-454F-901A-67A85F0773C2}"/>
          </ac:spMkLst>
        </pc:spChg>
        <pc:picChg chg="add del mod">
          <ac:chgData name="Andre Batenburg" userId="c6030a91-3587-4b0c-9a04-30c274d4b5d3" providerId="ADAL" clId="{6F39825D-C84F-4FE0-BC11-0A21A573BDA4}" dt="2021-07-14T06:04:32.536" v="169" actId="478"/>
          <ac:picMkLst>
            <pc:docMk/>
            <pc:sldMk cId="553359527" sldId="282"/>
            <ac:picMk id="6" creationId="{E9FB6C06-8A5F-499A-B715-A287225BF449}"/>
          </ac:picMkLst>
        </pc:picChg>
        <pc:picChg chg="add del mod ord">
          <ac:chgData name="Andre Batenburg" userId="c6030a91-3587-4b0c-9a04-30c274d4b5d3" providerId="ADAL" clId="{6F39825D-C84F-4FE0-BC11-0A21A573BDA4}" dt="2021-07-14T06:05:59.339" v="183" actId="478"/>
          <ac:picMkLst>
            <pc:docMk/>
            <pc:sldMk cId="553359527" sldId="282"/>
            <ac:picMk id="10" creationId="{45317C41-426D-4642-94A7-46AF8E758285}"/>
          </ac:picMkLst>
        </pc:picChg>
        <pc:picChg chg="add mod">
          <ac:chgData name="Andre Batenburg" userId="c6030a91-3587-4b0c-9a04-30c274d4b5d3" providerId="ADAL" clId="{6F39825D-C84F-4FE0-BC11-0A21A573BDA4}" dt="2021-07-15T14:12:52.691" v="2316" actId="14100"/>
          <ac:picMkLst>
            <pc:docMk/>
            <pc:sldMk cId="553359527" sldId="282"/>
            <ac:picMk id="14" creationId="{A201AC62-8545-4C8E-B7C9-7E6A09CC3C4D}"/>
          </ac:picMkLst>
        </pc:picChg>
      </pc:sldChg>
      <pc:sldChg chg="addSp delSp modSp add mod ord modClrScheme chgLayout">
        <pc:chgData name="Andre Batenburg" userId="c6030a91-3587-4b0c-9a04-30c274d4b5d3" providerId="ADAL" clId="{6F39825D-C84F-4FE0-BC11-0A21A573BDA4}" dt="2021-07-15T14:12:35.273" v="2315" actId="14100"/>
        <pc:sldMkLst>
          <pc:docMk/>
          <pc:sldMk cId="2470267485" sldId="283"/>
        </pc:sldMkLst>
        <pc:spChg chg="mod">
          <ac:chgData name="Andre Batenburg" userId="c6030a91-3587-4b0c-9a04-30c274d4b5d3" providerId="ADAL" clId="{6F39825D-C84F-4FE0-BC11-0A21A573BDA4}" dt="2021-07-14T06:27:00.323" v="426" actId="14100"/>
          <ac:spMkLst>
            <pc:docMk/>
            <pc:sldMk cId="2470267485" sldId="283"/>
            <ac:spMk id="3" creationId="{6A74664F-661B-436E-8A61-5A474F475A5D}"/>
          </ac:spMkLst>
        </pc:spChg>
        <pc:spChg chg="mod ord">
          <ac:chgData name="Andre Batenburg" userId="c6030a91-3587-4b0c-9a04-30c274d4b5d3" providerId="ADAL" clId="{6F39825D-C84F-4FE0-BC11-0A21A573BDA4}" dt="2021-07-14T06:24:57.142" v="357" actId="26606"/>
          <ac:spMkLst>
            <pc:docMk/>
            <pc:sldMk cId="2470267485" sldId="283"/>
            <ac:spMk id="4" creationId="{0BEADF2F-6A3F-4EE5-82B1-910EE94D233D}"/>
          </ac:spMkLst>
        </pc:spChg>
        <pc:spChg chg="mod">
          <ac:chgData name="Andre Batenburg" userId="c6030a91-3587-4b0c-9a04-30c274d4b5d3" providerId="ADAL" clId="{6F39825D-C84F-4FE0-BC11-0A21A573BDA4}" dt="2021-07-14T06:24:57.142" v="357" actId="26606"/>
          <ac:spMkLst>
            <pc:docMk/>
            <pc:sldMk cId="2470267485" sldId="283"/>
            <ac:spMk id="23" creationId="{0BDD9823-7AFD-45F9-8BA7-0F20ADBB4EA2}"/>
          </ac:spMkLst>
        </pc:spChg>
        <pc:spChg chg="mod">
          <ac:chgData name="Andre Batenburg" userId="c6030a91-3587-4b0c-9a04-30c274d4b5d3" providerId="ADAL" clId="{6F39825D-C84F-4FE0-BC11-0A21A573BDA4}" dt="2021-07-14T06:24:57.142" v="357" actId="26606"/>
          <ac:spMkLst>
            <pc:docMk/>
            <pc:sldMk cId="2470267485" sldId="283"/>
            <ac:spMk id="24" creationId="{5E6B330F-344C-4F92-9905-8D94CA0E1AF6}"/>
          </ac:spMkLst>
        </pc:spChg>
        <pc:picChg chg="add mod">
          <ac:chgData name="Andre Batenburg" userId="c6030a91-3587-4b0c-9a04-30c274d4b5d3" providerId="ADAL" clId="{6F39825D-C84F-4FE0-BC11-0A21A573BDA4}" dt="2021-07-15T14:12:35.273" v="2315" actId="14100"/>
          <ac:picMkLst>
            <pc:docMk/>
            <pc:sldMk cId="2470267485" sldId="283"/>
            <ac:picMk id="5" creationId="{53ED9247-3297-416B-ADEE-1D47E3707529}"/>
          </ac:picMkLst>
        </pc:picChg>
        <pc:picChg chg="del">
          <ac:chgData name="Andre Batenburg" userId="c6030a91-3587-4b0c-9a04-30c274d4b5d3" providerId="ADAL" clId="{6F39825D-C84F-4FE0-BC11-0A21A573BDA4}" dt="2021-07-14T06:24:33.837" v="355" actId="478"/>
          <ac:picMkLst>
            <pc:docMk/>
            <pc:sldMk cId="2470267485" sldId="283"/>
            <ac:picMk id="14" creationId="{A201AC62-8545-4C8E-B7C9-7E6A09CC3C4D}"/>
          </ac:picMkLst>
        </pc:picChg>
      </pc:sldChg>
      <pc:sldChg chg="addSp delSp modSp add mod">
        <pc:chgData name="Andre Batenburg" userId="c6030a91-3587-4b0c-9a04-30c274d4b5d3" providerId="ADAL" clId="{6F39825D-C84F-4FE0-BC11-0A21A573BDA4}" dt="2021-07-14T06:35:46.850" v="515" actId="14100"/>
        <pc:sldMkLst>
          <pc:docMk/>
          <pc:sldMk cId="2798211207" sldId="284"/>
        </pc:sldMkLst>
        <pc:spChg chg="mod">
          <ac:chgData name="Andre Batenburg" userId="c6030a91-3587-4b0c-9a04-30c274d4b5d3" providerId="ADAL" clId="{6F39825D-C84F-4FE0-BC11-0A21A573BDA4}" dt="2021-07-14T06:28:26.249" v="511" actId="6549"/>
          <ac:spMkLst>
            <pc:docMk/>
            <pc:sldMk cId="2798211207" sldId="284"/>
            <ac:spMk id="3" creationId="{6A74664F-661B-436E-8A61-5A474F475A5D}"/>
          </ac:spMkLst>
        </pc:spChg>
        <pc:spChg chg="mod">
          <ac:chgData name="Andre Batenburg" userId="c6030a91-3587-4b0c-9a04-30c274d4b5d3" providerId="ADAL" clId="{6F39825D-C84F-4FE0-BC11-0A21A573BDA4}" dt="2021-07-14T06:27:30.247" v="445" actId="6549"/>
          <ac:spMkLst>
            <pc:docMk/>
            <pc:sldMk cId="2798211207" sldId="284"/>
            <ac:spMk id="4" creationId="{0BEADF2F-6A3F-4EE5-82B1-910EE94D233D}"/>
          </ac:spMkLst>
        </pc:spChg>
        <pc:picChg chg="add mod">
          <ac:chgData name="Andre Batenburg" userId="c6030a91-3587-4b0c-9a04-30c274d4b5d3" providerId="ADAL" clId="{6F39825D-C84F-4FE0-BC11-0A21A573BDA4}" dt="2021-07-14T06:35:46.850" v="515" actId="14100"/>
          <ac:picMkLst>
            <pc:docMk/>
            <pc:sldMk cId="2798211207" sldId="284"/>
            <ac:picMk id="5" creationId="{49DDE50A-4C02-4716-A3A8-EECC522B3C81}"/>
          </ac:picMkLst>
        </pc:picChg>
        <pc:picChg chg="del">
          <ac:chgData name="Andre Batenburg" userId="c6030a91-3587-4b0c-9a04-30c274d4b5d3" providerId="ADAL" clId="{6F39825D-C84F-4FE0-BC11-0A21A573BDA4}" dt="2021-07-14T06:35:18.229" v="512" actId="478"/>
          <ac:picMkLst>
            <pc:docMk/>
            <pc:sldMk cId="2798211207" sldId="284"/>
            <ac:picMk id="14" creationId="{A201AC62-8545-4C8E-B7C9-7E6A09CC3C4D}"/>
          </ac:picMkLst>
        </pc:picChg>
      </pc:sldChg>
      <pc:sldChg chg="addSp delSp modSp add mod">
        <pc:chgData name="Andre Batenburg" userId="c6030a91-3587-4b0c-9a04-30c274d4b5d3" providerId="ADAL" clId="{6F39825D-C84F-4FE0-BC11-0A21A573BDA4}" dt="2021-07-23T14:05:22.722" v="2755" actId="113"/>
        <pc:sldMkLst>
          <pc:docMk/>
          <pc:sldMk cId="3726399744" sldId="285"/>
        </pc:sldMkLst>
        <pc:spChg chg="mod">
          <ac:chgData name="Andre Batenburg" userId="c6030a91-3587-4b0c-9a04-30c274d4b5d3" providerId="ADAL" clId="{6F39825D-C84F-4FE0-BC11-0A21A573BDA4}" dt="2021-07-23T14:05:22.722" v="2755" actId="113"/>
          <ac:spMkLst>
            <pc:docMk/>
            <pc:sldMk cId="3726399744" sldId="285"/>
            <ac:spMk id="3" creationId="{6A74664F-661B-436E-8A61-5A474F475A5D}"/>
          </ac:spMkLst>
        </pc:spChg>
        <pc:spChg chg="mod">
          <ac:chgData name="Andre Batenburg" userId="c6030a91-3587-4b0c-9a04-30c274d4b5d3" providerId="ADAL" clId="{6F39825D-C84F-4FE0-BC11-0A21A573BDA4}" dt="2021-07-14T06:36:40.690" v="538" actId="20577"/>
          <ac:spMkLst>
            <pc:docMk/>
            <pc:sldMk cId="3726399744" sldId="285"/>
            <ac:spMk id="4" creationId="{0BEADF2F-6A3F-4EE5-82B1-910EE94D233D}"/>
          </ac:spMkLst>
        </pc:spChg>
        <pc:picChg chg="del mod">
          <ac:chgData name="Andre Batenburg" userId="c6030a91-3587-4b0c-9a04-30c274d4b5d3" providerId="ADAL" clId="{6F39825D-C84F-4FE0-BC11-0A21A573BDA4}" dt="2021-07-14T07:19:42.297" v="1128" actId="478"/>
          <ac:picMkLst>
            <pc:docMk/>
            <pc:sldMk cId="3726399744" sldId="285"/>
            <ac:picMk id="5" creationId="{49DDE50A-4C02-4716-A3A8-EECC522B3C81}"/>
          </ac:picMkLst>
        </pc:picChg>
        <pc:picChg chg="add mod">
          <ac:chgData name="Andre Batenburg" userId="c6030a91-3587-4b0c-9a04-30c274d4b5d3" providerId="ADAL" clId="{6F39825D-C84F-4FE0-BC11-0A21A573BDA4}" dt="2021-07-15T14:13:38.018" v="2324" actId="14100"/>
          <ac:picMkLst>
            <pc:docMk/>
            <pc:sldMk cId="3726399744" sldId="285"/>
            <ac:picMk id="6" creationId="{1E7B17CF-47BC-471C-82D2-34485A8DF7B4}"/>
          </ac:picMkLst>
        </pc:picChg>
      </pc:sldChg>
      <pc:sldChg chg="addSp delSp modSp new mod">
        <pc:chgData name="Andre Batenburg" userId="c6030a91-3587-4b0c-9a04-30c274d4b5d3" providerId="ADAL" clId="{6F39825D-C84F-4FE0-BC11-0A21A573BDA4}" dt="2021-07-14T07:25:06.286" v="1357" actId="14100"/>
        <pc:sldMkLst>
          <pc:docMk/>
          <pc:sldMk cId="2812970303" sldId="286"/>
        </pc:sldMkLst>
        <pc:spChg chg="mod">
          <ac:chgData name="Andre Batenburg" userId="c6030a91-3587-4b0c-9a04-30c274d4b5d3" providerId="ADAL" clId="{6F39825D-C84F-4FE0-BC11-0A21A573BDA4}" dt="2021-07-14T07:24:51.815" v="1355" actId="1036"/>
          <ac:spMkLst>
            <pc:docMk/>
            <pc:sldMk cId="2812970303" sldId="286"/>
            <ac:spMk id="2" creationId="{F0AAD7FE-5E38-4909-B2A9-AACFE7437F07}"/>
          </ac:spMkLst>
        </pc:spChg>
        <pc:spChg chg="del">
          <ac:chgData name="Andre Batenburg" userId="c6030a91-3587-4b0c-9a04-30c274d4b5d3" providerId="ADAL" clId="{6F39825D-C84F-4FE0-BC11-0A21A573BDA4}" dt="2021-07-14T07:21:40.512" v="1149" actId="478"/>
          <ac:spMkLst>
            <pc:docMk/>
            <pc:sldMk cId="2812970303" sldId="286"/>
            <ac:spMk id="3" creationId="{4865A34D-DFA1-4F95-8E9E-7AD9551319B9}"/>
          </ac:spMkLst>
        </pc:spChg>
        <pc:picChg chg="add mod">
          <ac:chgData name="Andre Batenburg" userId="c6030a91-3587-4b0c-9a04-30c274d4b5d3" providerId="ADAL" clId="{6F39825D-C84F-4FE0-BC11-0A21A573BDA4}" dt="2021-07-14T07:25:06.286" v="1357" actId="14100"/>
          <ac:picMkLst>
            <pc:docMk/>
            <pc:sldMk cId="2812970303" sldId="286"/>
            <ac:picMk id="7" creationId="{F8138DB6-EAA8-4B72-8C4A-6D5BF4CFF3F0}"/>
          </ac:picMkLst>
        </pc:picChg>
      </pc:sldChg>
      <pc:sldChg chg="addSp delSp modSp add del mod">
        <pc:chgData name="Andre Batenburg" userId="c6030a91-3587-4b0c-9a04-30c274d4b5d3" providerId="ADAL" clId="{6F39825D-C84F-4FE0-BC11-0A21A573BDA4}" dt="2021-07-22T10:58:49.142" v="2586" actId="1076"/>
        <pc:sldMkLst>
          <pc:docMk/>
          <pc:sldMk cId="649030648" sldId="287"/>
        </pc:sldMkLst>
        <pc:spChg chg="mod">
          <ac:chgData name="Andre Batenburg" userId="c6030a91-3587-4b0c-9a04-30c274d4b5d3" providerId="ADAL" clId="{6F39825D-C84F-4FE0-BC11-0A21A573BDA4}" dt="2021-07-14T07:25:26.022" v="1369" actId="20577"/>
          <ac:spMkLst>
            <pc:docMk/>
            <pc:sldMk cId="649030648" sldId="287"/>
            <ac:spMk id="2" creationId="{F0AAD7FE-5E38-4909-B2A9-AACFE7437F07}"/>
          </ac:spMkLst>
        </pc:spChg>
        <pc:picChg chg="add mod">
          <ac:chgData name="Andre Batenburg" userId="c6030a91-3587-4b0c-9a04-30c274d4b5d3" providerId="ADAL" clId="{6F39825D-C84F-4FE0-BC11-0A21A573BDA4}" dt="2021-07-22T10:58:49.142" v="2586" actId="1076"/>
          <ac:picMkLst>
            <pc:docMk/>
            <pc:sldMk cId="649030648" sldId="287"/>
            <ac:picMk id="6" creationId="{82772165-AE92-46D5-83C5-B4A605F2849E}"/>
          </ac:picMkLst>
        </pc:picChg>
        <pc:picChg chg="add del mod">
          <ac:chgData name="Andre Batenburg" userId="c6030a91-3587-4b0c-9a04-30c274d4b5d3" providerId="ADAL" clId="{6F39825D-C84F-4FE0-BC11-0A21A573BDA4}" dt="2021-07-15T15:42:16.321" v="2564" actId="478"/>
          <ac:picMkLst>
            <pc:docMk/>
            <pc:sldMk cId="649030648" sldId="287"/>
            <ac:picMk id="6" creationId="{B3E68125-A61B-4A9D-8575-68533FC667A9}"/>
          </ac:picMkLst>
        </pc:picChg>
        <pc:picChg chg="add del mod">
          <ac:chgData name="Andre Batenburg" userId="c6030a91-3587-4b0c-9a04-30c274d4b5d3" providerId="ADAL" clId="{6F39825D-C84F-4FE0-BC11-0A21A573BDA4}" dt="2021-07-22T10:57:58.465" v="2579" actId="478"/>
          <ac:picMkLst>
            <pc:docMk/>
            <pc:sldMk cId="649030648" sldId="287"/>
            <ac:picMk id="7" creationId="{B9E7E1FB-35BD-42B3-B69D-568189CE9E94}"/>
          </ac:picMkLst>
        </pc:picChg>
        <pc:picChg chg="del">
          <ac:chgData name="Andre Batenburg" userId="c6030a91-3587-4b0c-9a04-30c274d4b5d3" providerId="ADAL" clId="{6F39825D-C84F-4FE0-BC11-0A21A573BDA4}" dt="2021-07-14T07:25:28.696" v="1370" actId="478"/>
          <ac:picMkLst>
            <pc:docMk/>
            <pc:sldMk cId="649030648" sldId="287"/>
            <ac:picMk id="7" creationId="{F8138DB6-EAA8-4B72-8C4A-6D5BF4CFF3F0}"/>
          </ac:picMkLst>
        </pc:picChg>
      </pc:sldChg>
      <pc:sldChg chg="addSp delSp modSp new del mod">
        <pc:chgData name="Andre Batenburg" userId="c6030a91-3587-4b0c-9a04-30c274d4b5d3" providerId="ADAL" clId="{6F39825D-C84F-4FE0-BC11-0A21A573BDA4}" dt="2021-07-14T07:25:12.847" v="1358" actId="47"/>
        <pc:sldMkLst>
          <pc:docMk/>
          <pc:sldMk cId="3316343753" sldId="287"/>
        </pc:sldMkLst>
        <pc:spChg chg="del">
          <ac:chgData name="Andre Batenburg" userId="c6030a91-3587-4b0c-9a04-30c274d4b5d3" providerId="ADAL" clId="{6F39825D-C84F-4FE0-BC11-0A21A573BDA4}" dt="2021-07-14T07:22:56.376" v="1175" actId="478"/>
          <ac:spMkLst>
            <pc:docMk/>
            <pc:sldMk cId="3316343753" sldId="287"/>
            <ac:spMk id="2" creationId="{17D47823-D44C-4C99-A874-055B6E3B540F}"/>
          </ac:spMkLst>
        </pc:spChg>
        <pc:spChg chg="mod">
          <ac:chgData name="Andre Batenburg" userId="c6030a91-3587-4b0c-9a04-30c274d4b5d3" providerId="ADAL" clId="{6F39825D-C84F-4FE0-BC11-0A21A573BDA4}" dt="2021-07-14T07:23:21.232" v="1219" actId="20577"/>
          <ac:spMkLst>
            <pc:docMk/>
            <pc:sldMk cId="3316343753" sldId="287"/>
            <ac:spMk id="5" creationId="{04052410-0973-43F5-B86B-D8B45AF06B83}"/>
          </ac:spMkLst>
        </pc:spChg>
        <pc:picChg chg="add mod">
          <ac:chgData name="Andre Batenburg" userId="c6030a91-3587-4b0c-9a04-30c274d4b5d3" providerId="ADAL" clId="{6F39825D-C84F-4FE0-BC11-0A21A573BDA4}" dt="2021-07-14T07:24:17.785" v="1261" actId="14100"/>
          <ac:picMkLst>
            <pc:docMk/>
            <pc:sldMk cId="3316343753" sldId="287"/>
            <ac:picMk id="7" creationId="{80C6B01A-B102-4955-A55B-FA5E450FA603}"/>
          </ac:picMkLst>
        </pc:picChg>
      </pc:sldChg>
      <pc:sldChg chg="addSp delSp modSp add mod">
        <pc:chgData name="Andre Batenburg" userId="c6030a91-3587-4b0c-9a04-30c274d4b5d3" providerId="ADAL" clId="{6F39825D-C84F-4FE0-BC11-0A21A573BDA4}" dt="2021-07-22T10:59:23.895" v="2593" actId="1076"/>
        <pc:sldMkLst>
          <pc:docMk/>
          <pc:sldMk cId="142520883" sldId="288"/>
        </pc:sldMkLst>
        <pc:spChg chg="mod">
          <ac:chgData name="Andre Batenburg" userId="c6030a91-3587-4b0c-9a04-30c274d4b5d3" providerId="ADAL" clId="{6F39825D-C84F-4FE0-BC11-0A21A573BDA4}" dt="2021-07-14T07:27:21.432" v="1435" actId="20577"/>
          <ac:spMkLst>
            <pc:docMk/>
            <pc:sldMk cId="142520883" sldId="288"/>
            <ac:spMk id="2" creationId="{F0AAD7FE-5E38-4909-B2A9-AACFE7437F07}"/>
          </ac:spMkLst>
        </pc:spChg>
        <pc:picChg chg="del">
          <ac:chgData name="Andre Batenburg" userId="c6030a91-3587-4b0c-9a04-30c274d4b5d3" providerId="ADAL" clId="{6F39825D-C84F-4FE0-BC11-0A21A573BDA4}" dt="2021-07-14T07:27:24.559" v="1436" actId="478"/>
          <ac:picMkLst>
            <pc:docMk/>
            <pc:sldMk cId="142520883" sldId="288"/>
            <ac:picMk id="6" creationId="{B3E68125-A61B-4A9D-8575-68533FC667A9}"/>
          </ac:picMkLst>
        </pc:picChg>
        <pc:picChg chg="add del mod">
          <ac:chgData name="Andre Batenburg" userId="c6030a91-3587-4b0c-9a04-30c274d4b5d3" providerId="ADAL" clId="{6F39825D-C84F-4FE0-BC11-0A21A573BDA4}" dt="2021-07-22T10:58:58.447" v="2587" actId="478"/>
          <ac:picMkLst>
            <pc:docMk/>
            <pc:sldMk cId="142520883" sldId="288"/>
            <ac:picMk id="6" creationId="{E46F8048-01AF-4AF2-BB16-6EAD82332233}"/>
          </ac:picMkLst>
        </pc:picChg>
        <pc:picChg chg="add del mod">
          <ac:chgData name="Andre Batenburg" userId="c6030a91-3587-4b0c-9a04-30c274d4b5d3" providerId="ADAL" clId="{6F39825D-C84F-4FE0-BC11-0A21A573BDA4}" dt="2021-07-14T07:29:02.213" v="1441" actId="478"/>
          <ac:picMkLst>
            <pc:docMk/>
            <pc:sldMk cId="142520883" sldId="288"/>
            <ac:picMk id="7" creationId="{7346D199-3616-4CFE-8EFB-BB6C90CCF88E}"/>
          </ac:picMkLst>
        </pc:picChg>
        <pc:picChg chg="add mod">
          <ac:chgData name="Andre Batenburg" userId="c6030a91-3587-4b0c-9a04-30c274d4b5d3" providerId="ADAL" clId="{6F39825D-C84F-4FE0-BC11-0A21A573BDA4}" dt="2021-07-22T10:59:23.895" v="2593" actId="1076"/>
          <ac:picMkLst>
            <pc:docMk/>
            <pc:sldMk cId="142520883" sldId="288"/>
            <ac:picMk id="7" creationId="{D9C8278E-E56C-425B-BC0D-4AF6ED2C9C35}"/>
          </ac:picMkLst>
        </pc:picChg>
        <pc:picChg chg="add del mod">
          <ac:chgData name="Andre Batenburg" userId="c6030a91-3587-4b0c-9a04-30c274d4b5d3" providerId="ADAL" clId="{6F39825D-C84F-4FE0-BC11-0A21A573BDA4}" dt="2021-07-15T15:43:53.731" v="2571" actId="478"/>
          <ac:picMkLst>
            <pc:docMk/>
            <pc:sldMk cId="142520883" sldId="288"/>
            <ac:picMk id="9" creationId="{4A7A5EE8-B21B-4741-91DA-0ED3CCAF038D}"/>
          </ac:picMkLst>
        </pc:picChg>
      </pc:sldChg>
      <pc:sldChg chg="addSp delSp modSp new mod modClrScheme chgLayout">
        <pc:chgData name="Andre Batenburg" userId="c6030a91-3587-4b0c-9a04-30c274d4b5d3" providerId="ADAL" clId="{6F39825D-C84F-4FE0-BC11-0A21A573BDA4}" dt="2021-07-23T07:40:07.773" v="2660" actId="313"/>
        <pc:sldMkLst>
          <pc:docMk/>
          <pc:sldMk cId="1910007894" sldId="289"/>
        </pc:sldMkLst>
        <pc:spChg chg="mod ord">
          <ac:chgData name="Andre Batenburg" userId="c6030a91-3587-4b0c-9a04-30c274d4b5d3" providerId="ADAL" clId="{6F39825D-C84F-4FE0-BC11-0A21A573BDA4}" dt="2021-07-15T14:59:50.980" v="2490" actId="6549"/>
          <ac:spMkLst>
            <pc:docMk/>
            <pc:sldMk cId="1910007894" sldId="289"/>
            <ac:spMk id="2" creationId="{62FC119F-15DB-4751-9A2B-27FB1B07E8A5}"/>
          </ac:spMkLst>
        </pc:spChg>
        <pc:spChg chg="mod ord">
          <ac:chgData name="Andre Batenburg" userId="c6030a91-3587-4b0c-9a04-30c274d4b5d3" providerId="ADAL" clId="{6F39825D-C84F-4FE0-BC11-0A21A573BDA4}" dt="2021-07-14T08:23:56.267" v="1917" actId="1076"/>
          <ac:spMkLst>
            <pc:docMk/>
            <pc:sldMk cId="1910007894" sldId="289"/>
            <ac:spMk id="3" creationId="{CD972408-CF28-43F2-B207-7D5B4304B6EE}"/>
          </ac:spMkLst>
        </pc:spChg>
        <pc:spChg chg="mod ord">
          <ac:chgData name="Andre Batenburg" userId="c6030a91-3587-4b0c-9a04-30c274d4b5d3" providerId="ADAL" clId="{6F39825D-C84F-4FE0-BC11-0A21A573BDA4}" dt="2021-07-14T08:16:05.413" v="1575" actId="700"/>
          <ac:spMkLst>
            <pc:docMk/>
            <pc:sldMk cId="1910007894" sldId="289"/>
            <ac:spMk id="4" creationId="{4BFC8D3E-2D2D-4CE2-AC14-21B68451FB33}"/>
          </ac:spMkLst>
        </pc:spChg>
        <pc:spChg chg="mod ord">
          <ac:chgData name="Andre Batenburg" userId="c6030a91-3587-4b0c-9a04-30c274d4b5d3" providerId="ADAL" clId="{6F39825D-C84F-4FE0-BC11-0A21A573BDA4}" dt="2021-07-14T08:16:05.413" v="1575" actId="700"/>
          <ac:spMkLst>
            <pc:docMk/>
            <pc:sldMk cId="1910007894" sldId="289"/>
            <ac:spMk id="5" creationId="{91A028D1-1D42-4156-9622-7BCBC895591E}"/>
          </ac:spMkLst>
        </pc:spChg>
        <pc:spChg chg="add del mod ord">
          <ac:chgData name="Andre Batenburg" userId="c6030a91-3587-4b0c-9a04-30c274d4b5d3" providerId="ADAL" clId="{6F39825D-C84F-4FE0-BC11-0A21A573BDA4}" dt="2021-07-14T08:16:23.130" v="1576" actId="3680"/>
          <ac:spMkLst>
            <pc:docMk/>
            <pc:sldMk cId="1910007894" sldId="289"/>
            <ac:spMk id="6" creationId="{28BC73D1-02B9-4680-BF41-02F9526B3D0A}"/>
          </ac:spMkLst>
        </pc:spChg>
        <pc:graphicFrameChg chg="add mod ord modGraphic">
          <ac:chgData name="Andre Batenburg" userId="c6030a91-3587-4b0c-9a04-30c274d4b5d3" providerId="ADAL" clId="{6F39825D-C84F-4FE0-BC11-0A21A573BDA4}" dt="2021-07-23T07:40:07.773" v="2660" actId="313"/>
          <ac:graphicFrameMkLst>
            <pc:docMk/>
            <pc:sldMk cId="1910007894" sldId="289"/>
            <ac:graphicFrameMk id="7" creationId="{FA3BA9BB-0A72-47A8-9FB2-78B7DCEFB251}"/>
          </ac:graphicFrameMkLst>
        </pc:graphicFrameChg>
      </pc:sldChg>
      <pc:sldChg chg="modSp add mod">
        <pc:chgData name="Andre Batenburg" userId="c6030a91-3587-4b0c-9a04-30c274d4b5d3" providerId="ADAL" clId="{6F39825D-C84F-4FE0-BC11-0A21A573BDA4}" dt="2021-07-15T15:13:30.326" v="2557"/>
        <pc:sldMkLst>
          <pc:docMk/>
          <pc:sldMk cId="3498502278" sldId="290"/>
        </pc:sldMkLst>
        <pc:spChg chg="mod">
          <ac:chgData name="Andre Batenburg" userId="c6030a91-3587-4b0c-9a04-30c274d4b5d3" providerId="ADAL" clId="{6F39825D-C84F-4FE0-BC11-0A21A573BDA4}" dt="2021-07-15T15:00:01.215" v="2494" actId="6549"/>
          <ac:spMkLst>
            <pc:docMk/>
            <pc:sldMk cId="3498502278" sldId="290"/>
            <ac:spMk id="2" creationId="{62FC119F-15DB-4751-9A2B-27FB1B07E8A5}"/>
          </ac:spMkLst>
        </pc:spChg>
        <pc:spChg chg="mod">
          <ac:chgData name="Andre Batenburg" userId="c6030a91-3587-4b0c-9a04-30c274d4b5d3" providerId="ADAL" clId="{6F39825D-C84F-4FE0-BC11-0A21A573BDA4}" dt="2021-07-15T14:16:44.789" v="2367" actId="1036"/>
          <ac:spMkLst>
            <pc:docMk/>
            <pc:sldMk cId="3498502278" sldId="290"/>
            <ac:spMk id="3" creationId="{CD972408-CF28-43F2-B207-7D5B4304B6EE}"/>
          </ac:spMkLst>
        </pc:spChg>
        <pc:graphicFrameChg chg="mod modGraphic">
          <ac:chgData name="Andre Batenburg" userId="c6030a91-3587-4b0c-9a04-30c274d4b5d3" providerId="ADAL" clId="{6F39825D-C84F-4FE0-BC11-0A21A573BDA4}" dt="2021-07-15T15:13:30.326" v="2557"/>
          <ac:graphicFrameMkLst>
            <pc:docMk/>
            <pc:sldMk cId="3498502278" sldId="290"/>
            <ac:graphicFrameMk id="7" creationId="{FA3BA9BB-0A72-47A8-9FB2-78B7DCEFB251}"/>
          </ac:graphicFrameMkLst>
        </pc:graphicFrameChg>
      </pc:sldChg>
      <pc:sldChg chg="modSp add mod">
        <pc:chgData name="Andre Batenburg" userId="c6030a91-3587-4b0c-9a04-30c274d4b5d3" providerId="ADAL" clId="{6F39825D-C84F-4FE0-BC11-0A21A573BDA4}" dt="2021-07-15T15:14:46.831" v="2560" actId="2165"/>
        <pc:sldMkLst>
          <pc:docMk/>
          <pc:sldMk cId="358537123" sldId="291"/>
        </pc:sldMkLst>
        <pc:spChg chg="mod">
          <ac:chgData name="Andre Batenburg" userId="c6030a91-3587-4b0c-9a04-30c274d4b5d3" providerId="ADAL" clId="{6F39825D-C84F-4FE0-BC11-0A21A573BDA4}" dt="2021-07-15T15:00:24.582" v="2497" actId="6549"/>
          <ac:spMkLst>
            <pc:docMk/>
            <pc:sldMk cId="358537123" sldId="291"/>
            <ac:spMk id="2" creationId="{62FC119F-15DB-4751-9A2B-27FB1B07E8A5}"/>
          </ac:spMkLst>
        </pc:spChg>
        <pc:graphicFrameChg chg="mod modGraphic">
          <ac:chgData name="Andre Batenburg" userId="c6030a91-3587-4b0c-9a04-30c274d4b5d3" providerId="ADAL" clId="{6F39825D-C84F-4FE0-BC11-0A21A573BDA4}" dt="2021-07-15T15:14:46.831" v="2560" actId="2165"/>
          <ac:graphicFrameMkLst>
            <pc:docMk/>
            <pc:sldMk cId="358537123" sldId="291"/>
            <ac:graphicFrameMk id="7" creationId="{FA3BA9BB-0A72-47A8-9FB2-78B7DCEFB251}"/>
          </ac:graphicFrameMkLst>
        </pc:graphicFrameChg>
      </pc:sldChg>
    </pc:docChg>
  </pc:docChgLst>
  <pc:docChgLst>
    <pc:chgData name="Andre Batenburg" userId="c6030a91-3587-4b0c-9a04-30c274d4b5d3" providerId="ADAL" clId="{4061C08D-D9C7-471C-BDC5-38AF88A25E5A}"/>
    <pc:docChg chg="undo custSel addSld delSld modSld sldOrd">
      <pc:chgData name="Andre Batenburg" userId="c6030a91-3587-4b0c-9a04-30c274d4b5d3" providerId="ADAL" clId="{4061C08D-D9C7-471C-BDC5-38AF88A25E5A}" dt="2021-07-05T15:56:04.018" v="5853" actId="6549"/>
      <pc:docMkLst>
        <pc:docMk/>
      </pc:docMkLst>
      <pc:sldChg chg="modSp mod">
        <pc:chgData name="Andre Batenburg" userId="c6030a91-3587-4b0c-9a04-30c274d4b5d3" providerId="ADAL" clId="{4061C08D-D9C7-471C-BDC5-38AF88A25E5A}" dt="2021-07-05T15:55:58.378" v="5851" actId="6549"/>
        <pc:sldMkLst>
          <pc:docMk/>
          <pc:sldMk cId="3434545749" sldId="257"/>
        </pc:sldMkLst>
        <pc:spChg chg="mod">
          <ac:chgData name="Andre Batenburg" userId="c6030a91-3587-4b0c-9a04-30c274d4b5d3" providerId="ADAL" clId="{4061C08D-D9C7-471C-BDC5-38AF88A25E5A}" dt="2021-07-05T15:55:58.378" v="5851" actId="6549"/>
          <ac:spMkLst>
            <pc:docMk/>
            <pc:sldMk cId="3434545749" sldId="257"/>
            <ac:spMk id="5" creationId="{00000000-0000-0000-0000-000000000000}"/>
          </ac:spMkLst>
        </pc:spChg>
        <pc:spChg chg="mod">
          <ac:chgData name="Andre Batenburg" userId="c6030a91-3587-4b0c-9a04-30c274d4b5d3" providerId="ADAL" clId="{4061C08D-D9C7-471C-BDC5-38AF88A25E5A}" dt="2021-07-02T14:03:01.141" v="2443" actId="6549"/>
          <ac:spMkLst>
            <pc:docMk/>
            <pc:sldMk cId="3434545749" sldId="257"/>
            <ac:spMk id="6" creationId="{00000000-0000-0000-0000-000000000000}"/>
          </ac:spMkLst>
        </pc:spChg>
        <pc:spChg chg="mod">
          <ac:chgData name="Andre Batenburg" userId="c6030a91-3587-4b0c-9a04-30c274d4b5d3" providerId="ADAL" clId="{4061C08D-D9C7-471C-BDC5-38AF88A25E5A}" dt="2021-07-02T13:04:51.855" v="19" actId="20577"/>
          <ac:spMkLst>
            <pc:docMk/>
            <pc:sldMk cId="3434545749" sldId="257"/>
            <ac:spMk id="7" creationId="{00000000-0000-0000-0000-000000000000}"/>
          </ac:spMkLst>
        </pc:spChg>
      </pc:sldChg>
      <pc:sldChg chg="del">
        <pc:chgData name="Andre Batenburg" userId="c6030a91-3587-4b0c-9a04-30c274d4b5d3" providerId="ADAL" clId="{4061C08D-D9C7-471C-BDC5-38AF88A25E5A}" dt="2021-07-02T13:05:34.687" v="77" actId="47"/>
        <pc:sldMkLst>
          <pc:docMk/>
          <pc:sldMk cId="2329034991" sldId="268"/>
        </pc:sldMkLst>
      </pc:sldChg>
      <pc:sldChg chg="del">
        <pc:chgData name="Andre Batenburg" userId="c6030a91-3587-4b0c-9a04-30c274d4b5d3" providerId="ADAL" clId="{4061C08D-D9C7-471C-BDC5-38AF88A25E5A}" dt="2021-07-02T13:05:33.221" v="76" actId="47"/>
        <pc:sldMkLst>
          <pc:docMk/>
          <pc:sldMk cId="2215957502" sldId="270"/>
        </pc:sldMkLst>
      </pc:sldChg>
      <pc:sldChg chg="addSp delSp modSp mod modClrScheme chgLayout">
        <pc:chgData name="Andre Batenburg" userId="c6030a91-3587-4b0c-9a04-30c274d4b5d3" providerId="ADAL" clId="{4061C08D-D9C7-471C-BDC5-38AF88A25E5A}" dt="2021-07-05T15:56:04.018" v="5853" actId="6549"/>
        <pc:sldMkLst>
          <pc:docMk/>
          <pc:sldMk cId="3850271385" sldId="271"/>
        </pc:sldMkLst>
        <pc:spChg chg="mod ord">
          <ac:chgData name="Andre Batenburg" userId="c6030a91-3587-4b0c-9a04-30c274d4b5d3" providerId="ADAL" clId="{4061C08D-D9C7-471C-BDC5-38AF88A25E5A}" dt="2021-07-02T13:06:08.766" v="94" actId="700"/>
          <ac:spMkLst>
            <pc:docMk/>
            <pc:sldMk cId="3850271385" sldId="271"/>
            <ac:spMk id="2" creationId="{D7969EDB-EE8E-4BD6-B931-457A7A3E04AC}"/>
          </ac:spMkLst>
        </pc:spChg>
        <pc:spChg chg="del mod ord">
          <ac:chgData name="Andre Batenburg" userId="c6030a91-3587-4b0c-9a04-30c274d4b5d3" providerId="ADAL" clId="{4061C08D-D9C7-471C-BDC5-38AF88A25E5A}" dt="2021-07-02T13:06:08.766" v="94" actId="700"/>
          <ac:spMkLst>
            <pc:docMk/>
            <pc:sldMk cId="3850271385" sldId="271"/>
            <ac:spMk id="3" creationId="{3F12C61C-D37A-4F79-87A9-88CF0882879D}"/>
          </ac:spMkLst>
        </pc:spChg>
        <pc:spChg chg="add mod ord">
          <ac:chgData name="Andre Batenburg" userId="c6030a91-3587-4b0c-9a04-30c274d4b5d3" providerId="ADAL" clId="{4061C08D-D9C7-471C-BDC5-38AF88A25E5A}" dt="2021-07-05T15:56:04.018" v="5853" actId="6549"/>
          <ac:spMkLst>
            <pc:docMk/>
            <pc:sldMk cId="3850271385" sldId="271"/>
            <ac:spMk id="4" creationId="{4A7D0E74-ED2F-40F1-AC19-B7534DC6379E}"/>
          </ac:spMkLst>
        </pc:spChg>
        <pc:spChg chg="add mod ord">
          <ac:chgData name="Andre Batenburg" userId="c6030a91-3587-4b0c-9a04-30c274d4b5d3" providerId="ADAL" clId="{4061C08D-D9C7-471C-BDC5-38AF88A25E5A}" dt="2021-07-02T13:07:12.143" v="107" actId="14100"/>
          <ac:spMkLst>
            <pc:docMk/>
            <pc:sldMk cId="3850271385" sldId="271"/>
            <ac:spMk id="5" creationId="{C395AE4E-A7D8-464A-9B23-4747629AD39C}"/>
          </ac:spMkLst>
        </pc:spChg>
      </pc:sldChg>
      <pc:sldChg chg="modSp new mod">
        <pc:chgData name="Andre Batenburg" userId="c6030a91-3587-4b0c-9a04-30c274d4b5d3" providerId="ADAL" clId="{4061C08D-D9C7-471C-BDC5-38AF88A25E5A}" dt="2021-07-05T15:55:38.189" v="5849" actId="20577"/>
        <pc:sldMkLst>
          <pc:docMk/>
          <pc:sldMk cId="633113847" sldId="272"/>
        </pc:sldMkLst>
        <pc:spChg chg="mod">
          <ac:chgData name="Andre Batenburg" userId="c6030a91-3587-4b0c-9a04-30c274d4b5d3" providerId="ADAL" clId="{4061C08D-D9C7-471C-BDC5-38AF88A25E5A}" dt="2021-07-02T13:13:03.360" v="171" actId="20577"/>
          <ac:spMkLst>
            <pc:docMk/>
            <pc:sldMk cId="633113847" sldId="272"/>
            <ac:spMk id="2" creationId="{3E26A5EE-DC95-4D45-B59D-BA8483206797}"/>
          </ac:spMkLst>
        </pc:spChg>
        <pc:spChg chg="mod">
          <ac:chgData name="Andre Batenburg" userId="c6030a91-3587-4b0c-9a04-30c274d4b5d3" providerId="ADAL" clId="{4061C08D-D9C7-471C-BDC5-38AF88A25E5A}" dt="2021-07-05T15:55:38.189" v="5849" actId="20577"/>
          <ac:spMkLst>
            <pc:docMk/>
            <pc:sldMk cId="633113847" sldId="272"/>
            <ac:spMk id="3" creationId="{1EE97491-D281-459D-8388-B4E0EC3AAE6C}"/>
          </ac:spMkLst>
        </pc:spChg>
      </pc:sldChg>
      <pc:sldChg chg="del">
        <pc:chgData name="Andre Batenburg" userId="c6030a91-3587-4b0c-9a04-30c274d4b5d3" providerId="ADAL" clId="{4061C08D-D9C7-471C-BDC5-38AF88A25E5A}" dt="2021-07-02T13:05:30.322" v="75" actId="47"/>
        <pc:sldMkLst>
          <pc:docMk/>
          <pc:sldMk cId="1074066283" sldId="272"/>
        </pc:sldMkLst>
      </pc:sldChg>
      <pc:sldChg chg="modSp new mod">
        <pc:chgData name="Andre Batenburg" userId="c6030a91-3587-4b0c-9a04-30c274d4b5d3" providerId="ADAL" clId="{4061C08D-D9C7-471C-BDC5-38AF88A25E5A}" dt="2021-07-05T15:26:55.276" v="3093" actId="20577"/>
        <pc:sldMkLst>
          <pc:docMk/>
          <pc:sldMk cId="3529786210" sldId="273"/>
        </pc:sldMkLst>
        <pc:spChg chg="mod">
          <ac:chgData name="Andre Batenburg" userId="c6030a91-3587-4b0c-9a04-30c274d4b5d3" providerId="ADAL" clId="{4061C08D-D9C7-471C-BDC5-38AF88A25E5A}" dt="2021-07-02T13:29:02.878" v="813" actId="20577"/>
          <ac:spMkLst>
            <pc:docMk/>
            <pc:sldMk cId="3529786210" sldId="273"/>
            <ac:spMk id="2" creationId="{77153B30-C3E5-4159-876F-F3F53110481D}"/>
          </ac:spMkLst>
        </pc:spChg>
        <pc:spChg chg="mod">
          <ac:chgData name="Andre Batenburg" userId="c6030a91-3587-4b0c-9a04-30c274d4b5d3" providerId="ADAL" clId="{4061C08D-D9C7-471C-BDC5-38AF88A25E5A}" dt="2021-07-05T15:26:55.276" v="3093" actId="20577"/>
          <ac:spMkLst>
            <pc:docMk/>
            <pc:sldMk cId="3529786210" sldId="273"/>
            <ac:spMk id="3" creationId="{C211C2AD-0BAA-4F9C-BB4C-FBEAA913AE45}"/>
          </ac:spMkLst>
        </pc:spChg>
      </pc:sldChg>
      <pc:sldChg chg="modSp new mod">
        <pc:chgData name="Andre Batenburg" userId="c6030a91-3587-4b0c-9a04-30c274d4b5d3" providerId="ADAL" clId="{4061C08D-D9C7-471C-BDC5-38AF88A25E5A}" dt="2021-07-02T14:11:30.426" v="3005" actId="20577"/>
        <pc:sldMkLst>
          <pc:docMk/>
          <pc:sldMk cId="3225462457" sldId="274"/>
        </pc:sldMkLst>
        <pc:spChg chg="mod">
          <ac:chgData name="Andre Batenburg" userId="c6030a91-3587-4b0c-9a04-30c274d4b5d3" providerId="ADAL" clId="{4061C08D-D9C7-471C-BDC5-38AF88A25E5A}" dt="2021-07-02T13:54:06.965" v="1542" actId="20577"/>
          <ac:spMkLst>
            <pc:docMk/>
            <pc:sldMk cId="3225462457" sldId="274"/>
            <ac:spMk id="2" creationId="{20028E98-8EFA-422D-9D52-104888A41AB4}"/>
          </ac:spMkLst>
        </pc:spChg>
        <pc:spChg chg="mod">
          <ac:chgData name="Andre Batenburg" userId="c6030a91-3587-4b0c-9a04-30c274d4b5d3" providerId="ADAL" clId="{4061C08D-D9C7-471C-BDC5-38AF88A25E5A}" dt="2021-07-02T14:11:30.426" v="3005" actId="20577"/>
          <ac:spMkLst>
            <pc:docMk/>
            <pc:sldMk cId="3225462457" sldId="274"/>
            <ac:spMk id="3" creationId="{C20D9B0B-D5CA-4A31-8CDF-FC0F5316CF08}"/>
          </ac:spMkLst>
        </pc:spChg>
      </pc:sldChg>
      <pc:sldChg chg="addSp modSp new mod modClrScheme chgLayout">
        <pc:chgData name="Andre Batenburg" userId="c6030a91-3587-4b0c-9a04-30c274d4b5d3" providerId="ADAL" clId="{4061C08D-D9C7-471C-BDC5-38AF88A25E5A}" dt="2021-07-02T14:14:09.639" v="3067" actId="26606"/>
        <pc:sldMkLst>
          <pc:docMk/>
          <pc:sldMk cId="3813584481" sldId="275"/>
        </pc:sldMkLst>
        <pc:spChg chg="mod ord">
          <ac:chgData name="Andre Batenburg" userId="c6030a91-3587-4b0c-9a04-30c274d4b5d3" providerId="ADAL" clId="{4061C08D-D9C7-471C-BDC5-38AF88A25E5A}" dt="2021-07-02T14:14:09.639" v="3067" actId="26606"/>
          <ac:spMkLst>
            <pc:docMk/>
            <pc:sldMk cId="3813584481" sldId="275"/>
            <ac:spMk id="2" creationId="{C182BAB8-5C38-4557-9FA6-1A98C5655277}"/>
          </ac:spMkLst>
        </pc:spChg>
        <pc:spChg chg="mod ord">
          <ac:chgData name="Andre Batenburg" userId="c6030a91-3587-4b0c-9a04-30c274d4b5d3" providerId="ADAL" clId="{4061C08D-D9C7-471C-BDC5-38AF88A25E5A}" dt="2021-07-02T14:14:09.639" v="3067" actId="26606"/>
          <ac:spMkLst>
            <pc:docMk/>
            <pc:sldMk cId="3813584481" sldId="275"/>
            <ac:spMk id="3" creationId="{430713CF-9482-4FA1-936B-D9A2F9143D2D}"/>
          </ac:spMkLst>
        </pc:spChg>
        <pc:spChg chg="mod">
          <ac:chgData name="Andre Batenburg" userId="c6030a91-3587-4b0c-9a04-30c274d4b5d3" providerId="ADAL" clId="{4061C08D-D9C7-471C-BDC5-38AF88A25E5A}" dt="2021-07-02T14:14:09.639" v="3067" actId="26606"/>
          <ac:spMkLst>
            <pc:docMk/>
            <pc:sldMk cId="3813584481" sldId="275"/>
            <ac:spMk id="4" creationId="{2D34E113-9A2A-4671-8CC4-870790B642BD}"/>
          </ac:spMkLst>
        </pc:spChg>
        <pc:picChg chg="add mod">
          <ac:chgData name="Andre Batenburg" userId="c6030a91-3587-4b0c-9a04-30c274d4b5d3" providerId="ADAL" clId="{4061C08D-D9C7-471C-BDC5-38AF88A25E5A}" dt="2021-07-02T14:14:09.639" v="3067" actId="26606"/>
          <ac:picMkLst>
            <pc:docMk/>
            <pc:sldMk cId="3813584481" sldId="275"/>
            <ac:picMk id="6" creationId="{082CC70A-0203-4866-BE70-286443CCFDE0}"/>
          </ac:picMkLst>
        </pc:picChg>
      </pc:sldChg>
      <pc:sldChg chg="addSp modSp add mod modClrScheme chgLayout">
        <pc:chgData name="Andre Batenburg" userId="c6030a91-3587-4b0c-9a04-30c274d4b5d3" providerId="ADAL" clId="{4061C08D-D9C7-471C-BDC5-38AF88A25E5A}" dt="2021-07-02T14:14:30.397" v="3069" actId="26606"/>
        <pc:sldMkLst>
          <pc:docMk/>
          <pc:sldMk cId="3230109392" sldId="276"/>
        </pc:sldMkLst>
        <pc:spChg chg="mod ord">
          <ac:chgData name="Andre Batenburg" userId="c6030a91-3587-4b0c-9a04-30c274d4b5d3" providerId="ADAL" clId="{4061C08D-D9C7-471C-BDC5-38AF88A25E5A}" dt="2021-07-02T14:14:30.397" v="3069" actId="26606"/>
          <ac:spMkLst>
            <pc:docMk/>
            <pc:sldMk cId="3230109392" sldId="276"/>
            <ac:spMk id="2" creationId="{C182BAB8-5C38-4557-9FA6-1A98C5655277}"/>
          </ac:spMkLst>
        </pc:spChg>
        <pc:spChg chg="mod ord">
          <ac:chgData name="Andre Batenburg" userId="c6030a91-3587-4b0c-9a04-30c274d4b5d3" providerId="ADAL" clId="{4061C08D-D9C7-471C-BDC5-38AF88A25E5A}" dt="2021-07-02T14:14:30.397" v="3069" actId="26606"/>
          <ac:spMkLst>
            <pc:docMk/>
            <pc:sldMk cId="3230109392" sldId="276"/>
            <ac:spMk id="3" creationId="{430713CF-9482-4FA1-936B-D9A2F9143D2D}"/>
          </ac:spMkLst>
        </pc:spChg>
        <pc:spChg chg="mod">
          <ac:chgData name="Andre Batenburg" userId="c6030a91-3587-4b0c-9a04-30c274d4b5d3" providerId="ADAL" clId="{4061C08D-D9C7-471C-BDC5-38AF88A25E5A}" dt="2021-07-02T14:14:30.397" v="3069" actId="26606"/>
          <ac:spMkLst>
            <pc:docMk/>
            <pc:sldMk cId="3230109392" sldId="276"/>
            <ac:spMk id="4" creationId="{2D34E113-9A2A-4671-8CC4-870790B642BD}"/>
          </ac:spMkLst>
        </pc:spChg>
        <pc:picChg chg="add mod">
          <ac:chgData name="Andre Batenburg" userId="c6030a91-3587-4b0c-9a04-30c274d4b5d3" providerId="ADAL" clId="{4061C08D-D9C7-471C-BDC5-38AF88A25E5A}" dt="2021-07-02T14:14:30.397" v="3069" actId="26606"/>
          <ac:picMkLst>
            <pc:docMk/>
            <pc:sldMk cId="3230109392" sldId="276"/>
            <ac:picMk id="6" creationId="{DDCD1A39-00BB-4330-A253-B82EB24A7256}"/>
          </ac:picMkLst>
        </pc:picChg>
      </pc:sldChg>
      <pc:sldChg chg="addSp modSp add mod modClrScheme chgLayout">
        <pc:chgData name="Andre Batenburg" userId="c6030a91-3587-4b0c-9a04-30c274d4b5d3" providerId="ADAL" clId="{4061C08D-D9C7-471C-BDC5-38AF88A25E5A}" dt="2021-07-02T14:14:53.176" v="3071" actId="26606"/>
        <pc:sldMkLst>
          <pc:docMk/>
          <pc:sldMk cId="3371048381" sldId="277"/>
        </pc:sldMkLst>
        <pc:spChg chg="mod ord">
          <ac:chgData name="Andre Batenburg" userId="c6030a91-3587-4b0c-9a04-30c274d4b5d3" providerId="ADAL" clId="{4061C08D-D9C7-471C-BDC5-38AF88A25E5A}" dt="2021-07-02T14:14:53.176" v="3071" actId="26606"/>
          <ac:spMkLst>
            <pc:docMk/>
            <pc:sldMk cId="3371048381" sldId="277"/>
            <ac:spMk id="2" creationId="{C182BAB8-5C38-4557-9FA6-1A98C5655277}"/>
          </ac:spMkLst>
        </pc:spChg>
        <pc:spChg chg="mod ord">
          <ac:chgData name="Andre Batenburg" userId="c6030a91-3587-4b0c-9a04-30c274d4b5d3" providerId="ADAL" clId="{4061C08D-D9C7-471C-BDC5-38AF88A25E5A}" dt="2021-07-02T14:14:53.176" v="3071" actId="26606"/>
          <ac:spMkLst>
            <pc:docMk/>
            <pc:sldMk cId="3371048381" sldId="277"/>
            <ac:spMk id="3" creationId="{430713CF-9482-4FA1-936B-D9A2F9143D2D}"/>
          </ac:spMkLst>
        </pc:spChg>
        <pc:spChg chg="mod">
          <ac:chgData name="Andre Batenburg" userId="c6030a91-3587-4b0c-9a04-30c274d4b5d3" providerId="ADAL" clId="{4061C08D-D9C7-471C-BDC5-38AF88A25E5A}" dt="2021-07-02T14:14:53.176" v="3071" actId="26606"/>
          <ac:spMkLst>
            <pc:docMk/>
            <pc:sldMk cId="3371048381" sldId="277"/>
            <ac:spMk id="4" creationId="{2D34E113-9A2A-4671-8CC4-870790B642BD}"/>
          </ac:spMkLst>
        </pc:spChg>
        <pc:picChg chg="add mod">
          <ac:chgData name="Andre Batenburg" userId="c6030a91-3587-4b0c-9a04-30c274d4b5d3" providerId="ADAL" clId="{4061C08D-D9C7-471C-BDC5-38AF88A25E5A}" dt="2021-07-02T14:14:53.176" v="3071" actId="26606"/>
          <ac:picMkLst>
            <pc:docMk/>
            <pc:sldMk cId="3371048381" sldId="277"/>
            <ac:picMk id="6" creationId="{88C765A0-7B7C-4F97-B167-880FE0190384}"/>
          </ac:picMkLst>
        </pc:picChg>
      </pc:sldChg>
      <pc:sldChg chg="addSp delSp modSp new mod ord">
        <pc:chgData name="Andre Batenburg" userId="c6030a91-3587-4b0c-9a04-30c274d4b5d3" providerId="ADAL" clId="{4061C08D-D9C7-471C-BDC5-38AF88A25E5A}" dt="2021-07-05T15:39:23.083" v="4206" actId="14100"/>
        <pc:sldMkLst>
          <pc:docMk/>
          <pc:sldMk cId="3368204608" sldId="278"/>
        </pc:sldMkLst>
        <pc:spChg chg="mod">
          <ac:chgData name="Andre Batenburg" userId="c6030a91-3587-4b0c-9a04-30c274d4b5d3" providerId="ADAL" clId="{4061C08D-D9C7-471C-BDC5-38AF88A25E5A}" dt="2021-07-02T15:35:11.061" v="3089" actId="26606"/>
          <ac:spMkLst>
            <pc:docMk/>
            <pc:sldMk cId="3368204608" sldId="278"/>
            <ac:spMk id="2" creationId="{1BF4EC6A-9F31-4A96-9827-48617C19E8A7}"/>
          </ac:spMkLst>
        </pc:spChg>
        <pc:spChg chg="del">
          <ac:chgData name="Andre Batenburg" userId="c6030a91-3587-4b0c-9a04-30c274d4b5d3" providerId="ADAL" clId="{4061C08D-D9C7-471C-BDC5-38AF88A25E5A}" dt="2021-07-02T15:34:54.004" v="3087" actId="478"/>
          <ac:spMkLst>
            <pc:docMk/>
            <pc:sldMk cId="3368204608" sldId="278"/>
            <ac:spMk id="3" creationId="{94C4DE2A-A7C7-4219-87F5-326D65F9BD80}"/>
          </ac:spMkLst>
        </pc:spChg>
        <pc:spChg chg="mod">
          <ac:chgData name="Andre Batenburg" userId="c6030a91-3587-4b0c-9a04-30c274d4b5d3" providerId="ADAL" clId="{4061C08D-D9C7-471C-BDC5-38AF88A25E5A}" dt="2021-07-02T15:35:11.061" v="3089" actId="26606"/>
          <ac:spMkLst>
            <pc:docMk/>
            <pc:sldMk cId="3368204608" sldId="278"/>
            <ac:spMk id="4" creationId="{7AB6D430-5963-4E14-96EA-1171AC30AF31}"/>
          </ac:spMkLst>
        </pc:spChg>
        <pc:spChg chg="mod">
          <ac:chgData name="Andre Batenburg" userId="c6030a91-3587-4b0c-9a04-30c274d4b5d3" providerId="ADAL" clId="{4061C08D-D9C7-471C-BDC5-38AF88A25E5A}" dt="2021-07-02T15:35:11.061" v="3089" actId="26606"/>
          <ac:spMkLst>
            <pc:docMk/>
            <pc:sldMk cId="3368204608" sldId="278"/>
            <ac:spMk id="5" creationId="{DAF9F43F-1025-4473-93F9-1B65D57967B4}"/>
          </ac:spMkLst>
        </pc:spChg>
        <pc:picChg chg="add mod ord">
          <ac:chgData name="Andre Batenburg" userId="c6030a91-3587-4b0c-9a04-30c274d4b5d3" providerId="ADAL" clId="{4061C08D-D9C7-471C-BDC5-38AF88A25E5A}" dt="2021-07-05T15:39:23.083" v="4206" actId="14100"/>
          <ac:picMkLst>
            <pc:docMk/>
            <pc:sldMk cId="3368204608" sldId="278"/>
            <ac:picMk id="6" creationId="{97102A06-4BF5-4058-86EF-9FB2C4B074B3}"/>
          </ac:picMkLst>
        </pc:picChg>
        <pc:picChg chg="add del mod ord">
          <ac:chgData name="Andre Batenburg" userId="c6030a91-3587-4b0c-9a04-30c274d4b5d3" providerId="ADAL" clId="{4061C08D-D9C7-471C-BDC5-38AF88A25E5A}" dt="2021-07-05T15:38:35.681" v="4203" actId="478"/>
          <ac:picMkLst>
            <pc:docMk/>
            <pc:sldMk cId="3368204608" sldId="278"/>
            <ac:picMk id="7" creationId="{7B8A3F24-12B0-4455-A0F6-E6A990B8A45D}"/>
          </ac:picMkLst>
        </pc:picChg>
      </pc:sldChg>
      <pc:sldChg chg="modSp add mod">
        <pc:chgData name="Andre Batenburg" userId="c6030a91-3587-4b0c-9a04-30c274d4b5d3" providerId="ADAL" clId="{4061C08D-D9C7-471C-BDC5-38AF88A25E5A}" dt="2021-07-05T15:41:38.254" v="4370" actId="115"/>
        <pc:sldMkLst>
          <pc:docMk/>
          <pc:sldMk cId="441838562" sldId="279"/>
        </pc:sldMkLst>
        <pc:spChg chg="mod">
          <ac:chgData name="Andre Batenburg" userId="c6030a91-3587-4b0c-9a04-30c274d4b5d3" providerId="ADAL" clId="{4061C08D-D9C7-471C-BDC5-38AF88A25E5A}" dt="2021-07-05T15:38:15.919" v="4202" actId="6549"/>
          <ac:spMkLst>
            <pc:docMk/>
            <pc:sldMk cId="441838562" sldId="279"/>
            <ac:spMk id="2" creationId="{3E26A5EE-DC95-4D45-B59D-BA8483206797}"/>
          </ac:spMkLst>
        </pc:spChg>
        <pc:spChg chg="mod">
          <ac:chgData name="Andre Batenburg" userId="c6030a91-3587-4b0c-9a04-30c274d4b5d3" providerId="ADAL" clId="{4061C08D-D9C7-471C-BDC5-38AF88A25E5A}" dt="2021-07-05T15:41:38.254" v="4370" actId="115"/>
          <ac:spMkLst>
            <pc:docMk/>
            <pc:sldMk cId="441838562" sldId="279"/>
            <ac:spMk id="3" creationId="{1EE97491-D281-459D-8388-B4E0EC3AAE6C}"/>
          </ac:spMkLst>
        </pc:spChg>
      </pc:sldChg>
      <pc:sldChg chg="modSp add mod">
        <pc:chgData name="Andre Batenburg" userId="c6030a91-3587-4b0c-9a04-30c274d4b5d3" providerId="ADAL" clId="{4061C08D-D9C7-471C-BDC5-38AF88A25E5A}" dt="2021-07-05T15:52:44.363" v="5603" actId="20577"/>
        <pc:sldMkLst>
          <pc:docMk/>
          <pc:sldMk cId="912891240" sldId="280"/>
        </pc:sldMkLst>
        <pc:spChg chg="mod">
          <ac:chgData name="Andre Batenburg" userId="c6030a91-3587-4b0c-9a04-30c274d4b5d3" providerId="ADAL" clId="{4061C08D-D9C7-471C-BDC5-38AF88A25E5A}" dt="2021-07-05T15:41:59.639" v="4386" actId="6549"/>
          <ac:spMkLst>
            <pc:docMk/>
            <pc:sldMk cId="912891240" sldId="280"/>
            <ac:spMk id="2" creationId="{3E26A5EE-DC95-4D45-B59D-BA8483206797}"/>
          </ac:spMkLst>
        </pc:spChg>
        <pc:spChg chg="mod">
          <ac:chgData name="Andre Batenburg" userId="c6030a91-3587-4b0c-9a04-30c274d4b5d3" providerId="ADAL" clId="{4061C08D-D9C7-471C-BDC5-38AF88A25E5A}" dt="2021-07-05T15:52:44.363" v="5603" actId="20577"/>
          <ac:spMkLst>
            <pc:docMk/>
            <pc:sldMk cId="912891240" sldId="280"/>
            <ac:spMk id="3" creationId="{1EE97491-D281-459D-8388-B4E0EC3AAE6C}"/>
          </ac:spMkLst>
        </pc:spChg>
      </pc:sldChg>
      <pc:sldChg chg="addSp delSp modSp add mod">
        <pc:chgData name="Andre Batenburg" userId="c6030a91-3587-4b0c-9a04-30c274d4b5d3" providerId="ADAL" clId="{4061C08D-D9C7-471C-BDC5-38AF88A25E5A}" dt="2021-07-05T15:53:30.305" v="5608" actId="14100"/>
        <pc:sldMkLst>
          <pc:docMk/>
          <pc:sldMk cId="4145162108" sldId="281"/>
        </pc:sldMkLst>
        <pc:spChg chg="mod">
          <ac:chgData name="Andre Batenburg" userId="c6030a91-3587-4b0c-9a04-30c274d4b5d3" providerId="ADAL" clId="{4061C08D-D9C7-471C-BDC5-38AF88A25E5A}" dt="2021-07-05T15:42:39.969" v="4408" actId="6549"/>
          <ac:spMkLst>
            <pc:docMk/>
            <pc:sldMk cId="4145162108" sldId="281"/>
            <ac:spMk id="2" creationId="{1BF4EC6A-9F31-4A96-9827-48617C19E8A7}"/>
          </ac:spMkLst>
        </pc:spChg>
        <pc:picChg chg="del">
          <ac:chgData name="Andre Batenburg" userId="c6030a91-3587-4b0c-9a04-30c274d4b5d3" providerId="ADAL" clId="{4061C08D-D9C7-471C-BDC5-38AF88A25E5A}" dt="2021-07-05T15:42:43.974" v="4409" actId="478"/>
          <ac:picMkLst>
            <pc:docMk/>
            <pc:sldMk cId="4145162108" sldId="281"/>
            <ac:picMk id="6" creationId="{97102A06-4BF5-4058-86EF-9FB2C4B074B3}"/>
          </ac:picMkLst>
        </pc:picChg>
        <pc:picChg chg="add del mod ord">
          <ac:chgData name="Andre Batenburg" userId="c6030a91-3587-4b0c-9a04-30c274d4b5d3" providerId="ADAL" clId="{4061C08D-D9C7-471C-BDC5-38AF88A25E5A}" dt="2021-07-05T15:52:50.653" v="5604" actId="478"/>
          <ac:picMkLst>
            <pc:docMk/>
            <pc:sldMk cId="4145162108" sldId="281"/>
            <ac:picMk id="7" creationId="{F0969D62-5939-408C-9B00-D9C63B7FF851}"/>
          </ac:picMkLst>
        </pc:picChg>
        <pc:picChg chg="add mod ord">
          <ac:chgData name="Andre Batenburg" userId="c6030a91-3587-4b0c-9a04-30c274d4b5d3" providerId="ADAL" clId="{4061C08D-D9C7-471C-BDC5-38AF88A25E5A}" dt="2021-07-05T15:53:30.305" v="5608" actId="14100"/>
          <ac:picMkLst>
            <pc:docMk/>
            <pc:sldMk cId="4145162108" sldId="281"/>
            <ac:picMk id="9" creationId="{384BA2E9-2202-4E49-B2FE-150521586BCD}"/>
          </ac:picMkLst>
        </pc:picChg>
      </pc:sldChg>
      <pc:sldChg chg="add del">
        <pc:chgData name="Andre Batenburg" userId="c6030a91-3587-4b0c-9a04-30c274d4b5d3" providerId="ADAL" clId="{4061C08D-D9C7-471C-BDC5-38AF88A25E5A}" dt="2021-07-05T15:42:26.790" v="4392"/>
        <pc:sldMkLst>
          <pc:docMk/>
          <pc:sldMk cId="4262411611" sldId="281"/>
        </pc:sldMkLst>
      </pc:sldChg>
    </pc:docChg>
  </pc:docChgLst>
  <pc:docChgLst>
    <pc:chgData name="Andre Batenburg" userId="c6030a91-3587-4b0c-9a04-30c274d4b5d3" providerId="ADAL" clId="{D66D276F-97DD-4587-8388-37763A19623B}"/>
    <pc:docChg chg="undo custSel addSld delSld modSld sldOrd">
      <pc:chgData name="Andre Batenburg" userId="c6030a91-3587-4b0c-9a04-30c274d4b5d3" providerId="ADAL" clId="{D66D276F-97DD-4587-8388-37763A19623B}" dt="2021-12-13T13:48:38.356" v="4926"/>
      <pc:docMkLst>
        <pc:docMk/>
      </pc:docMkLst>
      <pc:sldChg chg="modSp mod">
        <pc:chgData name="Andre Batenburg" userId="c6030a91-3587-4b0c-9a04-30c274d4b5d3" providerId="ADAL" clId="{D66D276F-97DD-4587-8388-37763A19623B}" dt="2021-12-13T11:43:54.710" v="4853" actId="20577"/>
        <pc:sldMkLst>
          <pc:docMk/>
          <pc:sldMk cId="3434545749" sldId="257"/>
        </pc:sldMkLst>
        <pc:spChg chg="mod">
          <ac:chgData name="Andre Batenburg" userId="c6030a91-3587-4b0c-9a04-30c274d4b5d3" providerId="ADAL" clId="{D66D276F-97DD-4587-8388-37763A19623B}" dt="2021-12-13T11:43:54.710" v="4853" actId="20577"/>
          <ac:spMkLst>
            <pc:docMk/>
            <pc:sldMk cId="3434545749" sldId="257"/>
            <ac:spMk id="5" creationId="{00000000-0000-0000-0000-000000000000}"/>
          </ac:spMkLst>
        </pc:spChg>
      </pc:sldChg>
      <pc:sldChg chg="modSp mod">
        <pc:chgData name="Andre Batenburg" userId="c6030a91-3587-4b0c-9a04-30c274d4b5d3" providerId="ADAL" clId="{D66D276F-97DD-4587-8388-37763A19623B}" dt="2021-12-13T11:43:46.930" v="4851" actId="6549"/>
        <pc:sldMkLst>
          <pc:docMk/>
          <pc:sldMk cId="3850271385" sldId="271"/>
        </pc:sldMkLst>
        <pc:spChg chg="mod">
          <ac:chgData name="Andre Batenburg" userId="c6030a91-3587-4b0c-9a04-30c274d4b5d3" providerId="ADAL" clId="{D66D276F-97DD-4587-8388-37763A19623B}" dt="2021-12-13T11:43:46.930" v="4851" actId="6549"/>
          <ac:spMkLst>
            <pc:docMk/>
            <pc:sldMk cId="3850271385" sldId="271"/>
            <ac:spMk id="4" creationId="{4A7D0E74-ED2F-40F1-AC19-B7534DC6379E}"/>
          </ac:spMkLst>
        </pc:spChg>
        <pc:spChg chg="mod">
          <ac:chgData name="Andre Batenburg" userId="c6030a91-3587-4b0c-9a04-30c274d4b5d3" providerId="ADAL" clId="{D66D276F-97DD-4587-8388-37763A19623B}" dt="2021-12-10T14:53:53.210" v="136" actId="13926"/>
          <ac:spMkLst>
            <pc:docMk/>
            <pc:sldMk cId="3850271385" sldId="271"/>
            <ac:spMk id="5" creationId="{C395AE4E-A7D8-464A-9B23-4747629AD39C}"/>
          </ac:spMkLst>
        </pc:spChg>
      </pc:sldChg>
      <pc:sldChg chg="modSp mod">
        <pc:chgData name="Andre Batenburg" userId="c6030a91-3587-4b0c-9a04-30c274d4b5d3" providerId="ADAL" clId="{D66D276F-97DD-4587-8388-37763A19623B}" dt="2021-12-13T10:52:33.926" v="4417" actId="13926"/>
        <pc:sldMkLst>
          <pc:docMk/>
          <pc:sldMk cId="633113847" sldId="272"/>
        </pc:sldMkLst>
        <pc:spChg chg="mod">
          <ac:chgData name="Andre Batenburg" userId="c6030a91-3587-4b0c-9a04-30c274d4b5d3" providerId="ADAL" clId="{D66D276F-97DD-4587-8388-37763A19623B}" dt="2021-12-13T10:52:33.926" v="4417" actId="13926"/>
          <ac:spMkLst>
            <pc:docMk/>
            <pc:sldMk cId="633113847" sldId="272"/>
            <ac:spMk id="3" creationId="{1EE97491-D281-459D-8388-B4E0EC3AAE6C}"/>
          </ac:spMkLst>
        </pc:spChg>
      </pc:sldChg>
      <pc:sldChg chg="modSp mod">
        <pc:chgData name="Andre Batenburg" userId="c6030a91-3587-4b0c-9a04-30c274d4b5d3" providerId="ADAL" clId="{D66D276F-97DD-4587-8388-37763A19623B}" dt="2021-12-13T10:53:24.552" v="4435" actId="13926"/>
        <pc:sldMkLst>
          <pc:docMk/>
          <pc:sldMk cId="3529786210" sldId="273"/>
        </pc:sldMkLst>
        <pc:spChg chg="mod">
          <ac:chgData name="Andre Batenburg" userId="c6030a91-3587-4b0c-9a04-30c274d4b5d3" providerId="ADAL" clId="{D66D276F-97DD-4587-8388-37763A19623B}" dt="2021-12-13T10:53:24.552" v="4435" actId="13926"/>
          <ac:spMkLst>
            <pc:docMk/>
            <pc:sldMk cId="3529786210" sldId="273"/>
            <ac:spMk id="3" creationId="{C211C2AD-0BAA-4F9C-BB4C-FBEAA913AE45}"/>
          </ac:spMkLst>
        </pc:spChg>
      </pc:sldChg>
      <pc:sldChg chg="addSp delSp modSp mod">
        <pc:chgData name="Andre Batenburg" userId="c6030a91-3587-4b0c-9a04-30c274d4b5d3" providerId="ADAL" clId="{D66D276F-97DD-4587-8388-37763A19623B}" dt="2021-12-13T10:06:59.454" v="3298" actId="1076"/>
        <pc:sldMkLst>
          <pc:docMk/>
          <pc:sldMk cId="3813584481" sldId="275"/>
        </pc:sldMkLst>
        <pc:spChg chg="mod">
          <ac:chgData name="Andre Batenburg" userId="c6030a91-3587-4b0c-9a04-30c274d4b5d3" providerId="ADAL" clId="{D66D276F-97DD-4587-8388-37763A19623B}" dt="2021-12-13T09:45:02.919" v="3294" actId="13926"/>
          <ac:spMkLst>
            <pc:docMk/>
            <pc:sldMk cId="3813584481" sldId="275"/>
            <ac:spMk id="4" creationId="{2D34E113-9A2A-4671-8CC4-870790B642BD}"/>
          </ac:spMkLst>
        </pc:spChg>
        <pc:picChg chg="del">
          <ac:chgData name="Andre Batenburg" userId="c6030a91-3587-4b0c-9a04-30c274d4b5d3" providerId="ADAL" clId="{D66D276F-97DD-4587-8388-37763A19623B}" dt="2021-12-13T10:06:26.016" v="3295" actId="478"/>
          <ac:picMkLst>
            <pc:docMk/>
            <pc:sldMk cId="3813584481" sldId="275"/>
            <ac:picMk id="6" creationId="{082CC70A-0203-4866-BE70-286443CCFDE0}"/>
          </ac:picMkLst>
        </pc:picChg>
        <pc:picChg chg="add mod">
          <ac:chgData name="Andre Batenburg" userId="c6030a91-3587-4b0c-9a04-30c274d4b5d3" providerId="ADAL" clId="{D66D276F-97DD-4587-8388-37763A19623B}" dt="2021-12-13T10:06:59.454" v="3298" actId="1076"/>
          <ac:picMkLst>
            <pc:docMk/>
            <pc:sldMk cId="3813584481" sldId="275"/>
            <ac:picMk id="7" creationId="{B75D6EDA-2150-45C6-8C21-5B86E8AC6AA5}"/>
          </ac:picMkLst>
        </pc:picChg>
      </pc:sldChg>
      <pc:sldChg chg="addSp delSp modSp mod modClrScheme chgLayout">
        <pc:chgData name="Andre Batenburg" userId="c6030a91-3587-4b0c-9a04-30c274d4b5d3" providerId="ADAL" clId="{D66D276F-97DD-4587-8388-37763A19623B}" dt="2021-12-13T09:01:59.904" v="2123" actId="13926"/>
        <pc:sldMkLst>
          <pc:docMk/>
          <pc:sldMk cId="3230109392" sldId="276"/>
        </pc:sldMkLst>
        <pc:spChg chg="mod ord">
          <ac:chgData name="Andre Batenburg" userId="c6030a91-3587-4b0c-9a04-30c274d4b5d3" providerId="ADAL" clId="{D66D276F-97DD-4587-8388-37763A19623B}" dt="2021-12-13T08:38:47.142" v="1476" actId="26606"/>
          <ac:spMkLst>
            <pc:docMk/>
            <pc:sldMk cId="3230109392" sldId="276"/>
            <ac:spMk id="2" creationId="{C182BAB8-5C38-4557-9FA6-1A98C5655277}"/>
          </ac:spMkLst>
        </pc:spChg>
        <pc:spChg chg="mod ord">
          <ac:chgData name="Andre Batenburg" userId="c6030a91-3587-4b0c-9a04-30c274d4b5d3" providerId="ADAL" clId="{D66D276F-97DD-4587-8388-37763A19623B}" dt="2021-12-13T08:38:47.142" v="1476" actId="26606"/>
          <ac:spMkLst>
            <pc:docMk/>
            <pc:sldMk cId="3230109392" sldId="276"/>
            <ac:spMk id="3" creationId="{430713CF-9482-4FA1-936B-D9A2F9143D2D}"/>
          </ac:spMkLst>
        </pc:spChg>
        <pc:spChg chg="mod ord">
          <ac:chgData name="Andre Batenburg" userId="c6030a91-3587-4b0c-9a04-30c274d4b5d3" providerId="ADAL" clId="{D66D276F-97DD-4587-8388-37763A19623B}" dt="2021-12-13T09:01:59.904" v="2123" actId="13926"/>
          <ac:spMkLst>
            <pc:docMk/>
            <pc:sldMk cId="3230109392" sldId="276"/>
            <ac:spMk id="4" creationId="{2D34E113-9A2A-4671-8CC4-870790B642BD}"/>
          </ac:spMkLst>
        </pc:spChg>
        <pc:spChg chg="add del mod ord">
          <ac:chgData name="Andre Batenburg" userId="c6030a91-3587-4b0c-9a04-30c274d4b5d3" providerId="ADAL" clId="{D66D276F-97DD-4587-8388-37763A19623B}" dt="2021-12-13T09:01:24.317" v="2121" actId="13926"/>
          <ac:spMkLst>
            <pc:docMk/>
            <pc:sldMk cId="3230109392" sldId="276"/>
            <ac:spMk id="5" creationId="{B49515C9-2FFE-4347-A9A2-667222243B45}"/>
          </ac:spMkLst>
        </pc:spChg>
        <pc:spChg chg="add del mod">
          <ac:chgData name="Andre Batenburg" userId="c6030a91-3587-4b0c-9a04-30c274d4b5d3" providerId="ADAL" clId="{D66D276F-97DD-4587-8388-37763A19623B}" dt="2021-12-13T08:38:47.142" v="1476" actId="26606"/>
          <ac:spMkLst>
            <pc:docMk/>
            <pc:sldMk cId="3230109392" sldId="276"/>
            <ac:spMk id="11" creationId="{04A5DAF5-FEE1-47CF-9217-6DD55FB146D6}"/>
          </ac:spMkLst>
        </pc:spChg>
        <pc:picChg chg="del mod">
          <ac:chgData name="Andre Batenburg" userId="c6030a91-3587-4b0c-9a04-30c274d4b5d3" providerId="ADAL" clId="{D66D276F-97DD-4587-8388-37763A19623B}" dt="2021-12-13T08:57:25.366" v="2105" actId="478"/>
          <ac:picMkLst>
            <pc:docMk/>
            <pc:sldMk cId="3230109392" sldId="276"/>
            <ac:picMk id="6" creationId="{DDCD1A39-00BB-4330-A253-B82EB24A7256}"/>
          </ac:picMkLst>
        </pc:picChg>
        <pc:picChg chg="add mod">
          <ac:chgData name="Andre Batenburg" userId="c6030a91-3587-4b0c-9a04-30c274d4b5d3" providerId="ADAL" clId="{D66D276F-97DD-4587-8388-37763A19623B}" dt="2021-12-13T09:00:40.102" v="2114" actId="14100"/>
          <ac:picMkLst>
            <pc:docMk/>
            <pc:sldMk cId="3230109392" sldId="276"/>
            <ac:picMk id="8" creationId="{B95FE0CA-3439-4E91-8033-6C50747E76A3}"/>
          </ac:picMkLst>
        </pc:picChg>
      </pc:sldChg>
      <pc:sldChg chg="addSp delSp modSp mod">
        <pc:chgData name="Andre Batenburg" userId="c6030a91-3587-4b0c-9a04-30c274d4b5d3" providerId="ADAL" clId="{D66D276F-97DD-4587-8388-37763A19623B}" dt="2021-12-13T11:02:07.183" v="4447" actId="1076"/>
        <pc:sldMkLst>
          <pc:docMk/>
          <pc:sldMk cId="3371048381" sldId="277"/>
        </pc:sldMkLst>
        <pc:spChg chg="mod">
          <ac:chgData name="Andre Batenburg" userId="c6030a91-3587-4b0c-9a04-30c274d4b5d3" providerId="ADAL" clId="{D66D276F-97DD-4587-8388-37763A19623B}" dt="2021-12-13T10:54:22.886" v="4436" actId="13926"/>
          <ac:spMkLst>
            <pc:docMk/>
            <pc:sldMk cId="3371048381" sldId="277"/>
            <ac:spMk id="4" creationId="{2D34E113-9A2A-4671-8CC4-870790B642BD}"/>
          </ac:spMkLst>
        </pc:spChg>
        <pc:picChg chg="del">
          <ac:chgData name="Andre Batenburg" userId="c6030a91-3587-4b0c-9a04-30c274d4b5d3" providerId="ADAL" clId="{D66D276F-97DD-4587-8388-37763A19623B}" dt="2021-12-13T10:55:33.399" v="4437" actId="478"/>
          <ac:picMkLst>
            <pc:docMk/>
            <pc:sldMk cId="3371048381" sldId="277"/>
            <ac:picMk id="6" creationId="{88C765A0-7B7C-4F97-B167-880FE0190384}"/>
          </ac:picMkLst>
        </pc:picChg>
        <pc:picChg chg="add del mod">
          <ac:chgData name="Andre Batenburg" userId="c6030a91-3587-4b0c-9a04-30c274d4b5d3" providerId="ADAL" clId="{D66D276F-97DD-4587-8388-37763A19623B}" dt="2021-12-13T11:01:46.183" v="4442" actId="478"/>
          <ac:picMkLst>
            <pc:docMk/>
            <pc:sldMk cId="3371048381" sldId="277"/>
            <ac:picMk id="7" creationId="{B85D609D-540D-403E-A4E1-48A30EA4081C}"/>
          </ac:picMkLst>
        </pc:picChg>
        <pc:picChg chg="add mod">
          <ac:chgData name="Andre Batenburg" userId="c6030a91-3587-4b0c-9a04-30c274d4b5d3" providerId="ADAL" clId="{D66D276F-97DD-4587-8388-37763A19623B}" dt="2021-12-13T11:02:07.183" v="4447" actId="1076"/>
          <ac:picMkLst>
            <pc:docMk/>
            <pc:sldMk cId="3371048381" sldId="277"/>
            <ac:picMk id="9" creationId="{247AAABC-9435-4476-B35B-A4B73E7DBBDD}"/>
          </ac:picMkLst>
        </pc:picChg>
      </pc:sldChg>
      <pc:sldChg chg="addSp delSp modSp mod ord">
        <pc:chgData name="Andre Batenburg" userId="c6030a91-3587-4b0c-9a04-30c274d4b5d3" providerId="ADAL" clId="{D66D276F-97DD-4587-8388-37763A19623B}" dt="2021-12-13T10:37:31.472" v="4134"/>
        <pc:sldMkLst>
          <pc:docMk/>
          <pc:sldMk cId="3368204608" sldId="278"/>
        </pc:sldMkLst>
        <pc:spChg chg="mod">
          <ac:chgData name="Andre Batenburg" userId="c6030a91-3587-4b0c-9a04-30c274d4b5d3" providerId="ADAL" clId="{D66D276F-97DD-4587-8388-37763A19623B}" dt="2021-12-13T10:31:12.726" v="4005" actId="13926"/>
          <ac:spMkLst>
            <pc:docMk/>
            <pc:sldMk cId="3368204608" sldId="278"/>
            <ac:spMk id="2" creationId="{1BF4EC6A-9F31-4A96-9827-48617C19E8A7}"/>
          </ac:spMkLst>
        </pc:spChg>
        <pc:picChg chg="del">
          <ac:chgData name="Andre Batenburg" userId="c6030a91-3587-4b0c-9a04-30c274d4b5d3" providerId="ADAL" clId="{D66D276F-97DD-4587-8388-37763A19623B}" dt="2021-12-13T10:31:15.928" v="4006" actId="478"/>
          <ac:picMkLst>
            <pc:docMk/>
            <pc:sldMk cId="3368204608" sldId="278"/>
            <ac:picMk id="6" creationId="{97102A06-4BF5-4058-86EF-9FB2C4B074B3}"/>
          </ac:picMkLst>
        </pc:picChg>
        <pc:picChg chg="add mod">
          <ac:chgData name="Andre Batenburg" userId="c6030a91-3587-4b0c-9a04-30c274d4b5d3" providerId="ADAL" clId="{D66D276F-97DD-4587-8388-37763A19623B}" dt="2021-12-13T10:31:39.845" v="4010" actId="1076"/>
          <ac:picMkLst>
            <pc:docMk/>
            <pc:sldMk cId="3368204608" sldId="278"/>
            <ac:picMk id="7" creationId="{70518063-5456-441F-AE8A-0D74214C166D}"/>
          </ac:picMkLst>
        </pc:picChg>
      </pc:sldChg>
      <pc:sldChg chg="modSp mod">
        <pc:chgData name="Andre Batenburg" userId="c6030a91-3587-4b0c-9a04-30c274d4b5d3" providerId="ADAL" clId="{D66D276F-97DD-4587-8388-37763A19623B}" dt="2021-12-13T10:40:56.545" v="4228" actId="20577"/>
        <pc:sldMkLst>
          <pc:docMk/>
          <pc:sldMk cId="441838562" sldId="279"/>
        </pc:sldMkLst>
        <pc:spChg chg="mod">
          <ac:chgData name="Andre Batenburg" userId="c6030a91-3587-4b0c-9a04-30c274d4b5d3" providerId="ADAL" clId="{D66D276F-97DD-4587-8388-37763A19623B}" dt="2021-12-13T10:40:56.545" v="4228" actId="20577"/>
          <ac:spMkLst>
            <pc:docMk/>
            <pc:sldMk cId="441838562" sldId="279"/>
            <ac:spMk id="3" creationId="{1EE97491-D281-459D-8388-B4E0EC3AAE6C}"/>
          </ac:spMkLst>
        </pc:spChg>
      </pc:sldChg>
      <pc:sldChg chg="modSp mod">
        <pc:chgData name="Andre Batenburg" userId="c6030a91-3587-4b0c-9a04-30c274d4b5d3" providerId="ADAL" clId="{D66D276F-97DD-4587-8388-37763A19623B}" dt="2021-12-13T10:51:43.474" v="4394" actId="13926"/>
        <pc:sldMkLst>
          <pc:docMk/>
          <pc:sldMk cId="912891240" sldId="280"/>
        </pc:sldMkLst>
        <pc:spChg chg="mod">
          <ac:chgData name="Andre Batenburg" userId="c6030a91-3587-4b0c-9a04-30c274d4b5d3" providerId="ADAL" clId="{D66D276F-97DD-4587-8388-37763A19623B}" dt="2021-12-13T10:51:43.474" v="4394" actId="13926"/>
          <ac:spMkLst>
            <pc:docMk/>
            <pc:sldMk cId="912891240" sldId="280"/>
            <ac:spMk id="2" creationId="{3E26A5EE-DC95-4D45-B59D-BA8483206797}"/>
          </ac:spMkLst>
        </pc:spChg>
        <pc:spChg chg="mod">
          <ac:chgData name="Andre Batenburg" userId="c6030a91-3587-4b0c-9a04-30c274d4b5d3" providerId="ADAL" clId="{D66D276F-97DD-4587-8388-37763A19623B}" dt="2021-12-13T10:51:31.825" v="4392" actId="13926"/>
          <ac:spMkLst>
            <pc:docMk/>
            <pc:sldMk cId="912891240" sldId="280"/>
            <ac:spMk id="3" creationId="{1EE97491-D281-459D-8388-B4E0EC3AAE6C}"/>
          </ac:spMkLst>
        </pc:spChg>
      </pc:sldChg>
      <pc:sldChg chg="addSp delSp modSp mod">
        <pc:chgData name="Andre Batenburg" userId="c6030a91-3587-4b0c-9a04-30c274d4b5d3" providerId="ADAL" clId="{D66D276F-97DD-4587-8388-37763A19623B}" dt="2021-12-13T10:51:59.422" v="4395" actId="13926"/>
        <pc:sldMkLst>
          <pc:docMk/>
          <pc:sldMk cId="4145162108" sldId="281"/>
        </pc:sldMkLst>
        <pc:spChg chg="mod">
          <ac:chgData name="Andre Batenburg" userId="c6030a91-3587-4b0c-9a04-30c274d4b5d3" providerId="ADAL" clId="{D66D276F-97DD-4587-8388-37763A19623B}" dt="2021-12-13T10:51:59.422" v="4395" actId="13926"/>
          <ac:spMkLst>
            <pc:docMk/>
            <pc:sldMk cId="4145162108" sldId="281"/>
            <ac:spMk id="2" creationId="{1BF4EC6A-9F31-4A96-9827-48617C19E8A7}"/>
          </ac:spMkLst>
        </pc:spChg>
        <pc:picChg chg="add mod">
          <ac:chgData name="Andre Batenburg" userId="c6030a91-3587-4b0c-9a04-30c274d4b5d3" providerId="ADAL" clId="{D66D276F-97DD-4587-8388-37763A19623B}" dt="2021-12-13T10:49:51.087" v="4353" actId="1076"/>
          <ac:picMkLst>
            <pc:docMk/>
            <pc:sldMk cId="4145162108" sldId="281"/>
            <ac:picMk id="6" creationId="{B05D5EEE-39AD-4E01-935F-E37EA1A3BDC3}"/>
          </ac:picMkLst>
        </pc:picChg>
        <pc:picChg chg="del">
          <ac:chgData name="Andre Batenburg" userId="c6030a91-3587-4b0c-9a04-30c274d4b5d3" providerId="ADAL" clId="{D66D276F-97DD-4587-8388-37763A19623B}" dt="2021-12-13T10:49:25.514" v="4348" actId="478"/>
          <ac:picMkLst>
            <pc:docMk/>
            <pc:sldMk cId="4145162108" sldId="281"/>
            <ac:picMk id="9" creationId="{384BA2E9-2202-4E49-B2FE-150521586BCD}"/>
          </ac:picMkLst>
        </pc:picChg>
      </pc:sldChg>
      <pc:sldChg chg="addSp delSp modSp mod">
        <pc:chgData name="Andre Batenburg" userId="c6030a91-3587-4b0c-9a04-30c274d4b5d3" providerId="ADAL" clId="{D66D276F-97DD-4587-8388-37763A19623B}" dt="2021-12-13T11:18:57.108" v="4486" actId="14100"/>
        <pc:sldMkLst>
          <pc:docMk/>
          <pc:sldMk cId="2812970303" sldId="286"/>
        </pc:sldMkLst>
        <pc:spChg chg="mod">
          <ac:chgData name="Andre Batenburg" userId="c6030a91-3587-4b0c-9a04-30c274d4b5d3" providerId="ADAL" clId="{D66D276F-97DD-4587-8388-37763A19623B}" dt="2021-12-13T11:10:38.911" v="4457" actId="13926"/>
          <ac:spMkLst>
            <pc:docMk/>
            <pc:sldMk cId="2812970303" sldId="286"/>
            <ac:spMk id="2" creationId="{F0AAD7FE-5E38-4909-B2A9-AACFE7437F07}"/>
          </ac:spMkLst>
        </pc:spChg>
        <pc:picChg chg="add del mod">
          <ac:chgData name="Andre Batenburg" userId="c6030a91-3587-4b0c-9a04-30c274d4b5d3" providerId="ADAL" clId="{D66D276F-97DD-4587-8388-37763A19623B}" dt="2021-12-13T11:18:35.840" v="4482" actId="478"/>
          <ac:picMkLst>
            <pc:docMk/>
            <pc:sldMk cId="2812970303" sldId="286"/>
            <ac:picMk id="6" creationId="{163CF1D7-17E6-4091-849A-C1756C103EEC}"/>
          </ac:picMkLst>
        </pc:picChg>
        <pc:picChg chg="del">
          <ac:chgData name="Andre Batenburg" userId="c6030a91-3587-4b0c-9a04-30c274d4b5d3" providerId="ADAL" clId="{D66D276F-97DD-4587-8388-37763A19623B}" dt="2021-12-13T11:10:42.721" v="4458" actId="478"/>
          <ac:picMkLst>
            <pc:docMk/>
            <pc:sldMk cId="2812970303" sldId="286"/>
            <ac:picMk id="7" creationId="{F8138DB6-EAA8-4B72-8C4A-6D5BF4CFF3F0}"/>
          </ac:picMkLst>
        </pc:picChg>
        <pc:picChg chg="add mod">
          <ac:chgData name="Andre Batenburg" userId="c6030a91-3587-4b0c-9a04-30c274d4b5d3" providerId="ADAL" clId="{D66D276F-97DD-4587-8388-37763A19623B}" dt="2021-12-13T11:18:57.108" v="4486" actId="14100"/>
          <ac:picMkLst>
            <pc:docMk/>
            <pc:sldMk cId="2812970303" sldId="286"/>
            <ac:picMk id="9" creationId="{F2B0A92C-0DA8-4662-A8BF-A8B9F4060FF9}"/>
          </ac:picMkLst>
        </pc:picChg>
      </pc:sldChg>
      <pc:sldChg chg="addSp delSp modSp mod">
        <pc:chgData name="Andre Batenburg" userId="c6030a91-3587-4b0c-9a04-30c274d4b5d3" providerId="ADAL" clId="{D66D276F-97DD-4587-8388-37763A19623B}" dt="2021-12-13T11:25:48.594" v="4693" actId="13926"/>
        <pc:sldMkLst>
          <pc:docMk/>
          <pc:sldMk cId="649030648" sldId="287"/>
        </pc:sldMkLst>
        <pc:spChg chg="mod">
          <ac:chgData name="Andre Batenburg" userId="c6030a91-3587-4b0c-9a04-30c274d4b5d3" providerId="ADAL" clId="{D66D276F-97DD-4587-8388-37763A19623B}" dt="2021-12-13T11:25:48.594" v="4693" actId="13926"/>
          <ac:spMkLst>
            <pc:docMk/>
            <pc:sldMk cId="649030648" sldId="287"/>
            <ac:spMk id="2" creationId="{F0AAD7FE-5E38-4909-B2A9-AACFE7437F07}"/>
          </ac:spMkLst>
        </pc:spChg>
        <pc:picChg chg="del">
          <ac:chgData name="Andre Batenburg" userId="c6030a91-3587-4b0c-9a04-30c274d4b5d3" providerId="ADAL" clId="{D66D276F-97DD-4587-8388-37763A19623B}" dt="2021-12-13T11:12:01.080" v="4473" actId="478"/>
          <ac:picMkLst>
            <pc:docMk/>
            <pc:sldMk cId="649030648" sldId="287"/>
            <ac:picMk id="6" creationId="{82772165-AE92-46D5-83C5-B4A605F2849E}"/>
          </ac:picMkLst>
        </pc:picChg>
        <pc:picChg chg="add del mod">
          <ac:chgData name="Andre Batenburg" userId="c6030a91-3587-4b0c-9a04-30c274d4b5d3" providerId="ADAL" clId="{D66D276F-97DD-4587-8388-37763A19623B}" dt="2021-12-13T11:18:05.839" v="4477" actId="478"/>
          <ac:picMkLst>
            <pc:docMk/>
            <pc:sldMk cId="649030648" sldId="287"/>
            <ac:picMk id="7" creationId="{222A6731-A89A-4E49-AEE6-6CD50E92528C}"/>
          </ac:picMkLst>
        </pc:picChg>
        <pc:picChg chg="add mod">
          <ac:chgData name="Andre Batenburg" userId="c6030a91-3587-4b0c-9a04-30c274d4b5d3" providerId="ADAL" clId="{D66D276F-97DD-4587-8388-37763A19623B}" dt="2021-12-13T11:18:30.165" v="4481" actId="1076"/>
          <ac:picMkLst>
            <pc:docMk/>
            <pc:sldMk cId="649030648" sldId="287"/>
            <ac:picMk id="9" creationId="{789ECF67-856E-48AB-BD8E-AA69049D6839}"/>
          </ac:picMkLst>
        </pc:picChg>
      </pc:sldChg>
      <pc:sldChg chg="addSp delSp modSp mod chgLayout">
        <pc:chgData name="Andre Batenburg" userId="c6030a91-3587-4b0c-9a04-30c274d4b5d3" providerId="ADAL" clId="{D66D276F-97DD-4587-8388-37763A19623B}" dt="2021-12-13T12:42:44.075" v="4885" actId="20577"/>
        <pc:sldMkLst>
          <pc:docMk/>
          <pc:sldMk cId="142520883" sldId="288"/>
        </pc:sldMkLst>
        <pc:spChg chg="mod ord">
          <ac:chgData name="Andre Batenburg" userId="c6030a91-3587-4b0c-9a04-30c274d4b5d3" providerId="ADAL" clId="{D66D276F-97DD-4587-8388-37763A19623B}" dt="2021-12-13T11:23:24.366" v="4522" actId="1035"/>
          <ac:spMkLst>
            <pc:docMk/>
            <pc:sldMk cId="142520883" sldId="288"/>
            <ac:spMk id="2" creationId="{F0AAD7FE-5E38-4909-B2A9-AACFE7437F07}"/>
          </ac:spMkLst>
        </pc:spChg>
        <pc:spChg chg="mod ord">
          <ac:chgData name="Andre Batenburg" userId="c6030a91-3587-4b0c-9a04-30c274d4b5d3" providerId="ADAL" clId="{D66D276F-97DD-4587-8388-37763A19623B}" dt="2021-12-13T11:22:46.878" v="4493" actId="700"/>
          <ac:spMkLst>
            <pc:docMk/>
            <pc:sldMk cId="142520883" sldId="288"/>
            <ac:spMk id="4" creationId="{5D078B69-C29F-4DC1-91D7-D1DA494BEDF5}"/>
          </ac:spMkLst>
        </pc:spChg>
        <pc:spChg chg="mod ord">
          <ac:chgData name="Andre Batenburg" userId="c6030a91-3587-4b0c-9a04-30c274d4b5d3" providerId="ADAL" clId="{D66D276F-97DD-4587-8388-37763A19623B}" dt="2021-12-13T11:22:46.878" v="4493" actId="700"/>
          <ac:spMkLst>
            <pc:docMk/>
            <pc:sldMk cId="142520883" sldId="288"/>
            <ac:spMk id="5" creationId="{058A62B7-68BC-4D40-A236-5F3C22F8A50F}"/>
          </ac:spMkLst>
        </pc:spChg>
        <pc:spChg chg="add mod ord">
          <ac:chgData name="Andre Batenburg" userId="c6030a91-3587-4b0c-9a04-30c274d4b5d3" providerId="ADAL" clId="{D66D276F-97DD-4587-8388-37763A19623B}" dt="2021-12-13T12:42:44.075" v="4885" actId="20577"/>
          <ac:spMkLst>
            <pc:docMk/>
            <pc:sldMk cId="142520883" sldId="288"/>
            <ac:spMk id="8" creationId="{5D62039C-4257-4387-B42E-DD7B3BA42371}"/>
          </ac:spMkLst>
        </pc:spChg>
        <pc:picChg chg="add mod ord">
          <ac:chgData name="Andre Batenburg" userId="c6030a91-3587-4b0c-9a04-30c274d4b5d3" providerId="ADAL" clId="{D66D276F-97DD-4587-8388-37763A19623B}" dt="2021-12-13T11:23:41.325" v="4525" actId="166"/>
          <ac:picMkLst>
            <pc:docMk/>
            <pc:sldMk cId="142520883" sldId="288"/>
            <ac:picMk id="6" creationId="{57879E58-3086-4D39-AE01-633CA8328A26}"/>
          </ac:picMkLst>
        </pc:picChg>
        <pc:picChg chg="del">
          <ac:chgData name="Andre Batenburg" userId="c6030a91-3587-4b0c-9a04-30c274d4b5d3" providerId="ADAL" clId="{D66D276F-97DD-4587-8388-37763A19623B}" dt="2021-12-13T11:20:55.697" v="4487" actId="478"/>
          <ac:picMkLst>
            <pc:docMk/>
            <pc:sldMk cId="142520883" sldId="288"/>
            <ac:picMk id="7" creationId="{D9C8278E-E56C-425B-BC0D-4AF6ED2C9C35}"/>
          </ac:picMkLst>
        </pc:picChg>
      </pc:sldChg>
      <pc:sldChg chg="add del">
        <pc:chgData name="Andre Batenburg" userId="c6030a91-3587-4b0c-9a04-30c274d4b5d3" providerId="ADAL" clId="{D66D276F-97DD-4587-8388-37763A19623B}" dt="2021-12-13T12:48:15.020" v="4913" actId="47"/>
        <pc:sldMkLst>
          <pc:docMk/>
          <pc:sldMk cId="1910007894" sldId="289"/>
        </pc:sldMkLst>
      </pc:sldChg>
      <pc:sldChg chg="add del">
        <pc:chgData name="Andre Batenburg" userId="c6030a91-3587-4b0c-9a04-30c274d4b5d3" providerId="ADAL" clId="{D66D276F-97DD-4587-8388-37763A19623B}" dt="2021-12-13T12:48:19.961" v="4915" actId="47"/>
        <pc:sldMkLst>
          <pc:docMk/>
          <pc:sldMk cId="3498502278" sldId="290"/>
        </pc:sldMkLst>
      </pc:sldChg>
      <pc:sldChg chg="modSp add del mod">
        <pc:chgData name="Andre Batenburg" userId="c6030a91-3587-4b0c-9a04-30c274d4b5d3" providerId="ADAL" clId="{D66D276F-97DD-4587-8388-37763A19623B}" dt="2021-12-13T12:48:18.064" v="4914" actId="47"/>
        <pc:sldMkLst>
          <pc:docMk/>
          <pc:sldMk cId="358537123" sldId="291"/>
        </pc:sldMkLst>
        <pc:graphicFrameChg chg="modGraphic">
          <ac:chgData name="Andre Batenburg" userId="c6030a91-3587-4b0c-9a04-30c274d4b5d3" providerId="ADAL" clId="{D66D276F-97DD-4587-8388-37763A19623B}" dt="2021-12-13T11:37:30.085" v="4742" actId="14734"/>
          <ac:graphicFrameMkLst>
            <pc:docMk/>
            <pc:sldMk cId="358537123" sldId="291"/>
            <ac:graphicFrameMk id="7" creationId="{FA3BA9BB-0A72-47A8-9FB2-78B7DCEFB251}"/>
          </ac:graphicFrameMkLst>
        </pc:graphicFrameChg>
      </pc:sldChg>
      <pc:sldChg chg="modSp new mod">
        <pc:chgData name="Andre Batenburg" userId="c6030a91-3587-4b0c-9a04-30c274d4b5d3" providerId="ADAL" clId="{D66D276F-97DD-4587-8388-37763A19623B}" dt="2021-12-13T12:20:50.293" v="4879" actId="6549"/>
        <pc:sldMkLst>
          <pc:docMk/>
          <pc:sldMk cId="3059244874" sldId="292"/>
        </pc:sldMkLst>
        <pc:spChg chg="mod">
          <ac:chgData name="Andre Batenburg" userId="c6030a91-3587-4b0c-9a04-30c274d4b5d3" providerId="ADAL" clId="{D66D276F-97DD-4587-8388-37763A19623B}" dt="2021-12-10T14:53:42.298" v="134" actId="13926"/>
          <ac:spMkLst>
            <pc:docMk/>
            <pc:sldMk cId="3059244874" sldId="292"/>
            <ac:spMk id="2" creationId="{DF28D848-D110-496F-AD28-2AE95E553C95}"/>
          </ac:spMkLst>
        </pc:spChg>
        <pc:spChg chg="mod">
          <ac:chgData name="Andre Batenburg" userId="c6030a91-3587-4b0c-9a04-30c274d4b5d3" providerId="ADAL" clId="{D66D276F-97DD-4587-8388-37763A19623B}" dt="2021-12-13T12:20:50.293" v="4879" actId="6549"/>
          <ac:spMkLst>
            <pc:docMk/>
            <pc:sldMk cId="3059244874" sldId="292"/>
            <ac:spMk id="3" creationId="{703326AC-DD39-415A-823D-1FD6D8613B4D}"/>
          </ac:spMkLst>
        </pc:spChg>
      </pc:sldChg>
      <pc:sldChg chg="addSp modSp new mod">
        <pc:chgData name="Andre Batenburg" userId="c6030a91-3587-4b0c-9a04-30c274d4b5d3" providerId="ADAL" clId="{D66D276F-97DD-4587-8388-37763A19623B}" dt="2021-12-13T12:56:20.763" v="4917" actId="20577"/>
        <pc:sldMkLst>
          <pc:docMk/>
          <pc:sldMk cId="2376113798" sldId="293"/>
        </pc:sldMkLst>
        <pc:spChg chg="mod">
          <ac:chgData name="Andre Batenburg" userId="c6030a91-3587-4b0c-9a04-30c274d4b5d3" providerId="ADAL" clId="{D66D276F-97DD-4587-8388-37763A19623B}" dt="2021-12-13T09:34:35.143" v="3292" actId="13926"/>
          <ac:spMkLst>
            <pc:docMk/>
            <pc:sldMk cId="2376113798" sldId="293"/>
            <ac:spMk id="2" creationId="{0D056B63-9CD9-42E5-AB19-162E67F6CE04}"/>
          </ac:spMkLst>
        </pc:spChg>
        <pc:spChg chg="mod">
          <ac:chgData name="Andre Batenburg" userId="c6030a91-3587-4b0c-9a04-30c274d4b5d3" providerId="ADAL" clId="{D66D276F-97DD-4587-8388-37763A19623B}" dt="2021-12-13T12:56:20.763" v="4917" actId="20577"/>
          <ac:spMkLst>
            <pc:docMk/>
            <pc:sldMk cId="2376113798" sldId="293"/>
            <ac:spMk id="3" creationId="{2F444D9E-FF65-4DCB-B619-62C87039C077}"/>
          </ac:spMkLst>
        </pc:spChg>
        <pc:picChg chg="add mod">
          <ac:chgData name="Andre Batenburg" userId="c6030a91-3587-4b0c-9a04-30c274d4b5d3" providerId="ADAL" clId="{D66D276F-97DD-4587-8388-37763A19623B}" dt="2021-12-13T09:34:05.462" v="3289" actId="14100"/>
          <ac:picMkLst>
            <pc:docMk/>
            <pc:sldMk cId="2376113798" sldId="293"/>
            <ac:picMk id="7" creationId="{CF72E468-9046-4A34-970A-3031B53D3817}"/>
          </ac:picMkLst>
        </pc:picChg>
      </pc:sldChg>
      <pc:sldChg chg="modSp new mod">
        <pc:chgData name="Andre Batenburg" userId="c6030a91-3587-4b0c-9a04-30c274d4b5d3" providerId="ADAL" clId="{D66D276F-97DD-4587-8388-37763A19623B}" dt="2021-12-13T09:32:38.977" v="3282" actId="20577"/>
        <pc:sldMkLst>
          <pc:docMk/>
          <pc:sldMk cId="1980481955" sldId="294"/>
        </pc:sldMkLst>
        <pc:spChg chg="mod">
          <ac:chgData name="Andre Batenburg" userId="c6030a91-3587-4b0c-9a04-30c274d4b5d3" providerId="ADAL" clId="{D66D276F-97DD-4587-8388-37763A19623B}" dt="2021-12-13T09:23:59.527" v="3039" actId="13926"/>
          <ac:spMkLst>
            <pc:docMk/>
            <pc:sldMk cId="1980481955" sldId="294"/>
            <ac:spMk id="2" creationId="{8365D70B-BE1E-4E74-95C1-6B212A60C32F}"/>
          </ac:spMkLst>
        </pc:spChg>
        <pc:spChg chg="mod">
          <ac:chgData name="Andre Batenburg" userId="c6030a91-3587-4b0c-9a04-30c274d4b5d3" providerId="ADAL" clId="{D66D276F-97DD-4587-8388-37763A19623B}" dt="2021-12-13T09:32:38.977" v="3282" actId="20577"/>
          <ac:spMkLst>
            <pc:docMk/>
            <pc:sldMk cId="1980481955" sldId="294"/>
            <ac:spMk id="3" creationId="{431A05E7-2535-4193-AD75-234F5E2B6AEA}"/>
          </ac:spMkLst>
        </pc:spChg>
      </pc:sldChg>
      <pc:sldChg chg="modSp new mod">
        <pc:chgData name="Andre Batenburg" userId="c6030a91-3587-4b0c-9a04-30c274d4b5d3" providerId="ADAL" clId="{D66D276F-97DD-4587-8388-37763A19623B}" dt="2021-12-13T10:25:38.241" v="4004" actId="20577"/>
        <pc:sldMkLst>
          <pc:docMk/>
          <pc:sldMk cId="1149580846" sldId="295"/>
        </pc:sldMkLst>
        <pc:spChg chg="mod">
          <ac:chgData name="Andre Batenburg" userId="c6030a91-3587-4b0c-9a04-30c274d4b5d3" providerId="ADAL" clId="{D66D276F-97DD-4587-8388-37763A19623B}" dt="2021-12-13T10:24:18.942" v="3983" actId="13926"/>
          <ac:spMkLst>
            <pc:docMk/>
            <pc:sldMk cId="1149580846" sldId="295"/>
            <ac:spMk id="2" creationId="{381AC8FB-7CF5-47FA-83DD-FFD6C60370B2}"/>
          </ac:spMkLst>
        </pc:spChg>
        <pc:spChg chg="mod">
          <ac:chgData name="Andre Batenburg" userId="c6030a91-3587-4b0c-9a04-30c274d4b5d3" providerId="ADAL" clId="{D66D276F-97DD-4587-8388-37763A19623B}" dt="2021-12-13T10:25:38.241" v="4004" actId="20577"/>
          <ac:spMkLst>
            <pc:docMk/>
            <pc:sldMk cId="1149580846" sldId="295"/>
            <ac:spMk id="3" creationId="{0AF16333-C786-42E4-9390-944549E86B1E}"/>
          </ac:spMkLst>
        </pc:spChg>
      </pc:sldChg>
      <pc:sldChg chg="modSp add mod">
        <pc:chgData name="Andre Batenburg" userId="c6030a91-3587-4b0c-9a04-30c274d4b5d3" providerId="ADAL" clId="{D66D276F-97DD-4587-8388-37763A19623B}" dt="2021-12-13T10:37:06.992" v="4132" actId="20577"/>
        <pc:sldMkLst>
          <pc:docMk/>
          <pc:sldMk cId="3813723346" sldId="296"/>
        </pc:sldMkLst>
        <pc:spChg chg="mod">
          <ac:chgData name="Andre Batenburg" userId="c6030a91-3587-4b0c-9a04-30c274d4b5d3" providerId="ADAL" clId="{D66D276F-97DD-4587-8388-37763A19623B}" dt="2021-12-13T10:32:42.050" v="4033" actId="20577"/>
          <ac:spMkLst>
            <pc:docMk/>
            <pc:sldMk cId="3813723346" sldId="296"/>
            <ac:spMk id="2" creationId="{381AC8FB-7CF5-47FA-83DD-FFD6C60370B2}"/>
          </ac:spMkLst>
        </pc:spChg>
        <pc:spChg chg="mod">
          <ac:chgData name="Andre Batenburg" userId="c6030a91-3587-4b0c-9a04-30c274d4b5d3" providerId="ADAL" clId="{D66D276F-97DD-4587-8388-37763A19623B}" dt="2021-12-13T10:37:06.992" v="4132" actId="20577"/>
          <ac:spMkLst>
            <pc:docMk/>
            <pc:sldMk cId="3813723346" sldId="296"/>
            <ac:spMk id="3" creationId="{0AF16333-C786-42E4-9390-944549E86B1E}"/>
          </ac:spMkLst>
        </pc:spChg>
      </pc:sldChg>
      <pc:sldChg chg="modSp add mod">
        <pc:chgData name="Andre Batenburg" userId="c6030a91-3587-4b0c-9a04-30c274d4b5d3" providerId="ADAL" clId="{D66D276F-97DD-4587-8388-37763A19623B}" dt="2021-12-13T12:29:16.225" v="4880" actId="114"/>
        <pc:sldMkLst>
          <pc:docMk/>
          <pc:sldMk cId="835859289" sldId="297"/>
        </pc:sldMkLst>
        <pc:spChg chg="mod">
          <ac:chgData name="Andre Batenburg" userId="c6030a91-3587-4b0c-9a04-30c274d4b5d3" providerId="ADAL" clId="{D66D276F-97DD-4587-8388-37763A19623B}" dt="2021-12-13T10:39:28.109" v="4165" actId="6549"/>
          <ac:spMkLst>
            <pc:docMk/>
            <pc:sldMk cId="835859289" sldId="297"/>
            <ac:spMk id="2" creationId="{381AC8FB-7CF5-47FA-83DD-FFD6C60370B2}"/>
          </ac:spMkLst>
        </pc:spChg>
        <pc:spChg chg="mod">
          <ac:chgData name="Andre Batenburg" userId="c6030a91-3587-4b0c-9a04-30c274d4b5d3" providerId="ADAL" clId="{D66D276F-97DD-4587-8388-37763A19623B}" dt="2021-12-13T12:29:16.225" v="4880" actId="114"/>
          <ac:spMkLst>
            <pc:docMk/>
            <pc:sldMk cId="835859289" sldId="297"/>
            <ac:spMk id="3" creationId="{0AF16333-C786-42E4-9390-944549E86B1E}"/>
          </ac:spMkLst>
        </pc:spChg>
      </pc:sldChg>
      <pc:sldChg chg="modSp add mod">
        <pc:chgData name="Andre Batenburg" userId="c6030a91-3587-4b0c-9a04-30c274d4b5d3" providerId="ADAL" clId="{D66D276F-97DD-4587-8388-37763A19623B}" dt="2021-12-13T13:47:34.863" v="4920"/>
        <pc:sldMkLst>
          <pc:docMk/>
          <pc:sldMk cId="2309313669" sldId="298"/>
        </pc:sldMkLst>
        <pc:spChg chg="mod">
          <ac:chgData name="Andre Batenburg" userId="c6030a91-3587-4b0c-9a04-30c274d4b5d3" providerId="ADAL" clId="{D66D276F-97DD-4587-8388-37763A19623B}" dt="2021-12-13T12:44:06.986" v="4893"/>
          <ac:spMkLst>
            <pc:docMk/>
            <pc:sldMk cId="2309313669" sldId="298"/>
            <ac:spMk id="3" creationId="{CD972408-CF28-43F2-B207-7D5B4304B6EE}"/>
          </ac:spMkLst>
        </pc:spChg>
        <pc:graphicFrameChg chg="mod modGraphic">
          <ac:chgData name="Andre Batenburg" userId="c6030a91-3587-4b0c-9a04-30c274d4b5d3" providerId="ADAL" clId="{D66D276F-97DD-4587-8388-37763A19623B}" dt="2021-12-13T13:47:34.863" v="4920"/>
          <ac:graphicFrameMkLst>
            <pc:docMk/>
            <pc:sldMk cId="2309313669" sldId="298"/>
            <ac:graphicFrameMk id="7" creationId="{FA3BA9BB-0A72-47A8-9FB2-78B7DCEFB251}"/>
          </ac:graphicFrameMkLst>
        </pc:graphicFrameChg>
      </pc:sldChg>
      <pc:sldChg chg="modSp add mod">
        <pc:chgData name="Andre Batenburg" userId="c6030a91-3587-4b0c-9a04-30c274d4b5d3" providerId="ADAL" clId="{D66D276F-97DD-4587-8388-37763A19623B}" dt="2021-12-13T13:48:12.040" v="4923"/>
        <pc:sldMkLst>
          <pc:docMk/>
          <pc:sldMk cId="1791770329" sldId="299"/>
        </pc:sldMkLst>
        <pc:spChg chg="mod">
          <ac:chgData name="Andre Batenburg" userId="c6030a91-3587-4b0c-9a04-30c274d4b5d3" providerId="ADAL" clId="{D66D276F-97DD-4587-8388-37763A19623B}" dt="2021-12-13T12:44:14.713" v="4894"/>
          <ac:spMkLst>
            <pc:docMk/>
            <pc:sldMk cId="1791770329" sldId="299"/>
            <ac:spMk id="3" creationId="{CD972408-CF28-43F2-B207-7D5B4304B6EE}"/>
          </ac:spMkLst>
        </pc:spChg>
        <pc:graphicFrameChg chg="mod modGraphic">
          <ac:chgData name="Andre Batenburg" userId="c6030a91-3587-4b0c-9a04-30c274d4b5d3" providerId="ADAL" clId="{D66D276F-97DD-4587-8388-37763A19623B}" dt="2021-12-13T13:48:12.040" v="4923"/>
          <ac:graphicFrameMkLst>
            <pc:docMk/>
            <pc:sldMk cId="1791770329" sldId="299"/>
            <ac:graphicFrameMk id="7" creationId="{FA3BA9BB-0A72-47A8-9FB2-78B7DCEFB251}"/>
          </ac:graphicFrameMkLst>
        </pc:graphicFrameChg>
      </pc:sldChg>
      <pc:sldChg chg="modSp add mod">
        <pc:chgData name="Andre Batenburg" userId="c6030a91-3587-4b0c-9a04-30c274d4b5d3" providerId="ADAL" clId="{D66D276F-97DD-4587-8388-37763A19623B}" dt="2021-12-13T13:48:38.356" v="4926"/>
        <pc:sldMkLst>
          <pc:docMk/>
          <pc:sldMk cId="1882584054" sldId="300"/>
        </pc:sldMkLst>
        <pc:spChg chg="mod">
          <ac:chgData name="Andre Batenburg" userId="c6030a91-3587-4b0c-9a04-30c274d4b5d3" providerId="ADAL" clId="{D66D276F-97DD-4587-8388-37763A19623B}" dt="2021-12-13T12:44:20.687" v="4895"/>
          <ac:spMkLst>
            <pc:docMk/>
            <pc:sldMk cId="1882584054" sldId="300"/>
            <ac:spMk id="3" creationId="{CD972408-CF28-43F2-B207-7D5B4304B6EE}"/>
          </ac:spMkLst>
        </pc:spChg>
        <pc:graphicFrameChg chg="mod modGraphic">
          <ac:chgData name="Andre Batenburg" userId="c6030a91-3587-4b0c-9a04-30c274d4b5d3" providerId="ADAL" clId="{D66D276F-97DD-4587-8388-37763A19623B}" dt="2021-12-13T13:48:38.356" v="4926"/>
          <ac:graphicFrameMkLst>
            <pc:docMk/>
            <pc:sldMk cId="1882584054" sldId="300"/>
            <ac:graphicFrameMk id="7" creationId="{FA3BA9BB-0A72-47A8-9FB2-78B7DCEFB251}"/>
          </ac:graphicFrameMkLst>
        </pc:graphicFrameChg>
      </pc:sldChg>
    </pc:docChg>
  </pc:docChgLst>
  <pc:docChgLst>
    <pc:chgData name="Andre Batenburg" userId="c6030a91-3587-4b0c-9a04-30c274d4b5d3" providerId="ADAL" clId="{6DE10895-4F41-43BA-B8BF-9A4057CB2BD4}"/>
    <pc:docChg chg="modSld">
      <pc:chgData name="Andre Batenburg" userId="c6030a91-3587-4b0c-9a04-30c274d4b5d3" providerId="ADAL" clId="{6DE10895-4F41-43BA-B8BF-9A4057CB2BD4}" dt="2021-07-08T11:28:06.932" v="58"/>
      <pc:docMkLst>
        <pc:docMk/>
      </pc:docMkLst>
      <pc:sldChg chg="modSp mod">
        <pc:chgData name="Andre Batenburg" userId="c6030a91-3587-4b0c-9a04-30c274d4b5d3" providerId="ADAL" clId="{6DE10895-4F41-43BA-B8BF-9A4057CB2BD4}" dt="2021-07-08T11:28:06.932" v="58"/>
        <pc:sldMkLst>
          <pc:docMk/>
          <pc:sldMk cId="3850271385" sldId="271"/>
        </pc:sldMkLst>
        <pc:spChg chg="mod">
          <ac:chgData name="Andre Batenburg" userId="c6030a91-3587-4b0c-9a04-30c274d4b5d3" providerId="ADAL" clId="{6DE10895-4F41-43BA-B8BF-9A4057CB2BD4}" dt="2021-07-08T11:27:11.898" v="53" actId="20577"/>
          <ac:spMkLst>
            <pc:docMk/>
            <pc:sldMk cId="3850271385" sldId="271"/>
            <ac:spMk id="4" creationId="{4A7D0E74-ED2F-40F1-AC19-B7534DC6379E}"/>
          </ac:spMkLst>
        </pc:spChg>
        <pc:spChg chg="mod">
          <ac:chgData name="Andre Batenburg" userId="c6030a91-3587-4b0c-9a04-30c274d4b5d3" providerId="ADAL" clId="{6DE10895-4F41-43BA-B8BF-9A4057CB2BD4}" dt="2021-07-08T11:28:06.932" v="58"/>
          <ac:spMkLst>
            <pc:docMk/>
            <pc:sldMk cId="3850271385" sldId="271"/>
            <ac:spMk id="5" creationId="{C395AE4E-A7D8-464A-9B23-4747629AD39C}"/>
          </ac:spMkLst>
        </pc:spChg>
      </pc:sldChg>
    </pc:docChg>
  </pc:docChgLst>
  <pc:docChgLst>
    <pc:chgData name="Andre Batenburg" userId="c6030a91-3587-4b0c-9a04-30c274d4b5d3" providerId="ADAL" clId="{9BBEADA7-45E8-47B6-92A0-3486628C8168}"/>
    <pc:docChg chg="undo custSel addSld modSld">
      <pc:chgData name="Andre Batenburg" userId="c6030a91-3587-4b0c-9a04-30c274d4b5d3" providerId="ADAL" clId="{9BBEADA7-45E8-47B6-92A0-3486628C8168}" dt="2022-11-04T14:54:39.045" v="381" actId="20577"/>
      <pc:docMkLst>
        <pc:docMk/>
      </pc:docMkLst>
      <pc:sldChg chg="modSp mod">
        <pc:chgData name="Andre Batenburg" userId="c6030a91-3587-4b0c-9a04-30c274d4b5d3" providerId="ADAL" clId="{9BBEADA7-45E8-47B6-92A0-3486628C8168}" dt="2022-11-04T14:54:33.046" v="379" actId="6549"/>
        <pc:sldMkLst>
          <pc:docMk/>
          <pc:sldMk cId="3434545749" sldId="257"/>
        </pc:sldMkLst>
        <pc:spChg chg="mod">
          <ac:chgData name="Andre Batenburg" userId="c6030a91-3587-4b0c-9a04-30c274d4b5d3" providerId="ADAL" clId="{9BBEADA7-45E8-47B6-92A0-3486628C8168}" dt="2022-11-04T14:54:33.046" v="379" actId="6549"/>
          <ac:spMkLst>
            <pc:docMk/>
            <pc:sldMk cId="3434545749" sldId="257"/>
            <ac:spMk id="5" creationId="{00000000-0000-0000-0000-000000000000}"/>
          </ac:spMkLst>
        </pc:spChg>
      </pc:sldChg>
      <pc:sldChg chg="modSp mod">
        <pc:chgData name="Andre Batenburg" userId="c6030a91-3587-4b0c-9a04-30c274d4b5d3" providerId="ADAL" clId="{9BBEADA7-45E8-47B6-92A0-3486628C8168}" dt="2022-11-04T14:54:39.045" v="381" actId="20577"/>
        <pc:sldMkLst>
          <pc:docMk/>
          <pc:sldMk cId="3850271385" sldId="271"/>
        </pc:sldMkLst>
        <pc:spChg chg="mod">
          <ac:chgData name="Andre Batenburg" userId="c6030a91-3587-4b0c-9a04-30c274d4b5d3" providerId="ADAL" clId="{9BBEADA7-45E8-47B6-92A0-3486628C8168}" dt="2022-11-04T14:54:39.045" v="381" actId="20577"/>
          <ac:spMkLst>
            <pc:docMk/>
            <pc:sldMk cId="3850271385" sldId="271"/>
            <ac:spMk id="4" creationId="{4A7D0E74-ED2F-40F1-AC19-B7534DC6379E}"/>
          </ac:spMkLst>
        </pc:spChg>
        <pc:spChg chg="mod">
          <ac:chgData name="Andre Batenburg" userId="c6030a91-3587-4b0c-9a04-30c274d4b5d3" providerId="ADAL" clId="{9BBEADA7-45E8-47B6-92A0-3486628C8168}" dt="2022-11-01T10:55:22.832" v="17" actId="13926"/>
          <ac:spMkLst>
            <pc:docMk/>
            <pc:sldMk cId="3850271385" sldId="271"/>
            <ac:spMk id="5" creationId="{C395AE4E-A7D8-464A-9B23-4747629AD39C}"/>
          </ac:spMkLst>
        </pc:spChg>
      </pc:sldChg>
      <pc:sldChg chg="modSp mod">
        <pc:chgData name="Andre Batenburg" userId="c6030a91-3587-4b0c-9a04-30c274d4b5d3" providerId="ADAL" clId="{9BBEADA7-45E8-47B6-92A0-3486628C8168}" dt="2022-11-03T06:22:05.008" v="229" actId="115"/>
        <pc:sldMkLst>
          <pc:docMk/>
          <pc:sldMk cId="633113847" sldId="272"/>
        </pc:sldMkLst>
        <pc:spChg chg="mod">
          <ac:chgData name="Andre Batenburg" userId="c6030a91-3587-4b0c-9a04-30c274d4b5d3" providerId="ADAL" clId="{9BBEADA7-45E8-47B6-92A0-3486628C8168}" dt="2022-11-03T06:22:05.008" v="229" actId="115"/>
          <ac:spMkLst>
            <pc:docMk/>
            <pc:sldMk cId="633113847" sldId="272"/>
            <ac:spMk id="3" creationId="{1EE97491-D281-459D-8388-B4E0EC3AAE6C}"/>
          </ac:spMkLst>
        </pc:spChg>
      </pc:sldChg>
      <pc:sldChg chg="modSp mod">
        <pc:chgData name="Andre Batenburg" userId="c6030a91-3587-4b0c-9a04-30c274d4b5d3" providerId="ADAL" clId="{9BBEADA7-45E8-47B6-92A0-3486628C8168}" dt="2022-11-03T06:25:45.931" v="251" actId="6549"/>
        <pc:sldMkLst>
          <pc:docMk/>
          <pc:sldMk cId="3529786210" sldId="273"/>
        </pc:sldMkLst>
        <pc:spChg chg="mod">
          <ac:chgData name="Andre Batenburg" userId="c6030a91-3587-4b0c-9a04-30c274d4b5d3" providerId="ADAL" clId="{9BBEADA7-45E8-47B6-92A0-3486628C8168}" dt="2022-11-03T06:25:45.931" v="251" actId="6549"/>
          <ac:spMkLst>
            <pc:docMk/>
            <pc:sldMk cId="3529786210" sldId="273"/>
            <ac:spMk id="3" creationId="{C211C2AD-0BAA-4F9C-BB4C-FBEAA913AE45}"/>
          </ac:spMkLst>
        </pc:spChg>
      </pc:sldChg>
      <pc:sldChg chg="modSp mod">
        <pc:chgData name="Andre Batenburg" userId="c6030a91-3587-4b0c-9a04-30c274d4b5d3" providerId="ADAL" clId="{9BBEADA7-45E8-47B6-92A0-3486628C8168}" dt="2022-11-03T07:12:42.526" v="337" actId="20577"/>
        <pc:sldMkLst>
          <pc:docMk/>
          <pc:sldMk cId="3225462457" sldId="274"/>
        </pc:sldMkLst>
        <pc:spChg chg="mod">
          <ac:chgData name="Andre Batenburg" userId="c6030a91-3587-4b0c-9a04-30c274d4b5d3" providerId="ADAL" clId="{9BBEADA7-45E8-47B6-92A0-3486628C8168}" dt="2022-11-03T07:12:42.526" v="337" actId="20577"/>
          <ac:spMkLst>
            <pc:docMk/>
            <pc:sldMk cId="3225462457" sldId="274"/>
            <ac:spMk id="3" creationId="{C20D9B0B-D5CA-4A31-8CDF-FC0F5316CF08}"/>
          </ac:spMkLst>
        </pc:spChg>
      </pc:sldChg>
      <pc:sldChg chg="modSp mod">
        <pc:chgData name="Andre Batenburg" userId="c6030a91-3587-4b0c-9a04-30c274d4b5d3" providerId="ADAL" clId="{9BBEADA7-45E8-47B6-92A0-3486628C8168}" dt="2022-11-03T06:23:12.526" v="230" actId="13926"/>
        <pc:sldMkLst>
          <pc:docMk/>
          <pc:sldMk cId="3813584481" sldId="275"/>
        </pc:sldMkLst>
        <pc:spChg chg="mod">
          <ac:chgData name="Andre Batenburg" userId="c6030a91-3587-4b0c-9a04-30c274d4b5d3" providerId="ADAL" clId="{9BBEADA7-45E8-47B6-92A0-3486628C8168}" dt="2022-11-03T06:23:12.526" v="230" actId="13926"/>
          <ac:spMkLst>
            <pc:docMk/>
            <pc:sldMk cId="3813584481" sldId="275"/>
            <ac:spMk id="4" creationId="{2D34E113-9A2A-4671-8CC4-870790B642BD}"/>
          </ac:spMkLst>
        </pc:spChg>
      </pc:sldChg>
      <pc:sldChg chg="modSp mod">
        <pc:chgData name="Andre Batenburg" userId="c6030a91-3587-4b0c-9a04-30c274d4b5d3" providerId="ADAL" clId="{9BBEADA7-45E8-47B6-92A0-3486628C8168}" dt="2022-11-03T06:24:33.766" v="233" actId="13926"/>
        <pc:sldMkLst>
          <pc:docMk/>
          <pc:sldMk cId="3230109392" sldId="276"/>
        </pc:sldMkLst>
        <pc:spChg chg="mod">
          <ac:chgData name="Andre Batenburg" userId="c6030a91-3587-4b0c-9a04-30c274d4b5d3" providerId="ADAL" clId="{9BBEADA7-45E8-47B6-92A0-3486628C8168}" dt="2022-11-03T06:24:28.455" v="232" actId="13926"/>
          <ac:spMkLst>
            <pc:docMk/>
            <pc:sldMk cId="3230109392" sldId="276"/>
            <ac:spMk id="4" creationId="{2D34E113-9A2A-4671-8CC4-870790B642BD}"/>
          </ac:spMkLst>
        </pc:spChg>
        <pc:spChg chg="mod">
          <ac:chgData name="Andre Batenburg" userId="c6030a91-3587-4b0c-9a04-30c274d4b5d3" providerId="ADAL" clId="{9BBEADA7-45E8-47B6-92A0-3486628C8168}" dt="2022-11-03T06:24:33.766" v="233" actId="13926"/>
          <ac:spMkLst>
            <pc:docMk/>
            <pc:sldMk cId="3230109392" sldId="276"/>
            <ac:spMk id="5" creationId="{B49515C9-2FFE-4347-A9A2-667222243B45}"/>
          </ac:spMkLst>
        </pc:spChg>
      </pc:sldChg>
      <pc:sldChg chg="modSp mod">
        <pc:chgData name="Andre Batenburg" userId="c6030a91-3587-4b0c-9a04-30c274d4b5d3" providerId="ADAL" clId="{9BBEADA7-45E8-47B6-92A0-3486628C8168}" dt="2022-11-03T06:31:14.535" v="254" actId="13926"/>
        <pc:sldMkLst>
          <pc:docMk/>
          <pc:sldMk cId="3371048381" sldId="277"/>
        </pc:sldMkLst>
        <pc:spChg chg="mod">
          <ac:chgData name="Andre Batenburg" userId="c6030a91-3587-4b0c-9a04-30c274d4b5d3" providerId="ADAL" clId="{9BBEADA7-45E8-47B6-92A0-3486628C8168}" dt="2022-11-03T06:31:14.535" v="254" actId="13926"/>
          <ac:spMkLst>
            <pc:docMk/>
            <pc:sldMk cId="3371048381" sldId="277"/>
            <ac:spMk id="4" creationId="{2D34E113-9A2A-4671-8CC4-870790B642BD}"/>
          </ac:spMkLst>
        </pc:spChg>
      </pc:sldChg>
      <pc:sldChg chg="addSp delSp modSp mod">
        <pc:chgData name="Andre Batenburg" userId="c6030a91-3587-4b0c-9a04-30c274d4b5d3" providerId="ADAL" clId="{9BBEADA7-45E8-47B6-92A0-3486628C8168}" dt="2022-11-03T07:17:56.522" v="342" actId="1076"/>
        <pc:sldMkLst>
          <pc:docMk/>
          <pc:sldMk cId="3368204608" sldId="278"/>
        </pc:sldMkLst>
        <pc:picChg chg="add mod">
          <ac:chgData name="Andre Batenburg" userId="c6030a91-3587-4b0c-9a04-30c274d4b5d3" providerId="ADAL" clId="{9BBEADA7-45E8-47B6-92A0-3486628C8168}" dt="2022-11-03T07:17:56.522" v="342" actId="1076"/>
          <ac:picMkLst>
            <pc:docMk/>
            <pc:sldMk cId="3368204608" sldId="278"/>
            <ac:picMk id="6" creationId="{2B4D1DDC-3042-1906-64FE-EFB17F8E8CA9}"/>
          </ac:picMkLst>
        </pc:picChg>
        <pc:picChg chg="del">
          <ac:chgData name="Andre Batenburg" userId="c6030a91-3587-4b0c-9a04-30c274d4b5d3" providerId="ADAL" clId="{9BBEADA7-45E8-47B6-92A0-3486628C8168}" dt="2022-11-03T07:17:30.636" v="338" actId="478"/>
          <ac:picMkLst>
            <pc:docMk/>
            <pc:sldMk cId="3368204608" sldId="278"/>
            <ac:picMk id="7" creationId="{70518063-5456-441F-AE8A-0D74214C166D}"/>
          </ac:picMkLst>
        </pc:picChg>
      </pc:sldChg>
      <pc:sldChg chg="modSp mod">
        <pc:chgData name="Andre Batenburg" userId="c6030a91-3587-4b0c-9a04-30c274d4b5d3" providerId="ADAL" clId="{9BBEADA7-45E8-47B6-92A0-3486628C8168}" dt="2022-11-01T11:31:39.770" v="208" actId="20577"/>
        <pc:sldMkLst>
          <pc:docMk/>
          <pc:sldMk cId="912891240" sldId="280"/>
        </pc:sldMkLst>
        <pc:spChg chg="mod">
          <ac:chgData name="Andre Batenburg" userId="c6030a91-3587-4b0c-9a04-30c274d4b5d3" providerId="ADAL" clId="{9BBEADA7-45E8-47B6-92A0-3486628C8168}" dt="2022-11-01T11:31:39.770" v="208" actId="20577"/>
          <ac:spMkLst>
            <pc:docMk/>
            <pc:sldMk cId="912891240" sldId="280"/>
            <ac:spMk id="3" creationId="{1EE97491-D281-459D-8388-B4E0EC3AAE6C}"/>
          </ac:spMkLst>
        </pc:spChg>
      </pc:sldChg>
      <pc:sldChg chg="modSp mod">
        <pc:chgData name="Andre Batenburg" userId="c6030a91-3587-4b0c-9a04-30c274d4b5d3" providerId="ADAL" clId="{9BBEADA7-45E8-47B6-92A0-3486628C8168}" dt="2022-11-03T06:20:31.488" v="224" actId="13926"/>
        <pc:sldMkLst>
          <pc:docMk/>
          <pc:sldMk cId="4145162108" sldId="281"/>
        </pc:sldMkLst>
        <pc:spChg chg="mod">
          <ac:chgData name="Andre Batenburg" userId="c6030a91-3587-4b0c-9a04-30c274d4b5d3" providerId="ADAL" clId="{9BBEADA7-45E8-47B6-92A0-3486628C8168}" dt="2022-11-03T06:20:31.488" v="224" actId="13926"/>
          <ac:spMkLst>
            <pc:docMk/>
            <pc:sldMk cId="4145162108" sldId="281"/>
            <ac:spMk id="2" creationId="{1BF4EC6A-9F31-4A96-9827-48617C19E8A7}"/>
          </ac:spMkLst>
        </pc:spChg>
      </pc:sldChg>
      <pc:sldChg chg="addSp delSp modSp mod">
        <pc:chgData name="Andre Batenburg" userId="c6030a91-3587-4b0c-9a04-30c274d4b5d3" providerId="ADAL" clId="{9BBEADA7-45E8-47B6-92A0-3486628C8168}" dt="2022-11-03T07:19:18.066" v="374" actId="20577"/>
        <pc:sldMkLst>
          <pc:docMk/>
          <pc:sldMk cId="553359527" sldId="282"/>
        </pc:sldMkLst>
        <pc:spChg chg="mod">
          <ac:chgData name="Andre Batenburg" userId="c6030a91-3587-4b0c-9a04-30c274d4b5d3" providerId="ADAL" clId="{9BBEADA7-45E8-47B6-92A0-3486628C8168}" dt="2022-11-03T07:19:18.066" v="374" actId="20577"/>
          <ac:spMkLst>
            <pc:docMk/>
            <pc:sldMk cId="553359527" sldId="282"/>
            <ac:spMk id="3" creationId="{6A74664F-661B-436E-8A61-5A474F475A5D}"/>
          </ac:spMkLst>
        </pc:spChg>
        <pc:picChg chg="add mod">
          <ac:chgData name="Andre Batenburg" userId="c6030a91-3587-4b0c-9a04-30c274d4b5d3" providerId="ADAL" clId="{9BBEADA7-45E8-47B6-92A0-3486628C8168}" dt="2022-11-03T07:18:57.258" v="348" actId="14100"/>
          <ac:picMkLst>
            <pc:docMk/>
            <pc:sldMk cId="553359527" sldId="282"/>
            <ac:picMk id="5" creationId="{3D5689CB-0AA6-5F1B-D5F3-1070272690EE}"/>
          </ac:picMkLst>
        </pc:picChg>
        <pc:picChg chg="del">
          <ac:chgData name="Andre Batenburg" userId="c6030a91-3587-4b0c-9a04-30c274d4b5d3" providerId="ADAL" clId="{9BBEADA7-45E8-47B6-92A0-3486628C8168}" dt="2022-11-03T07:18:22.091" v="343" actId="478"/>
          <ac:picMkLst>
            <pc:docMk/>
            <pc:sldMk cId="553359527" sldId="282"/>
            <ac:picMk id="14" creationId="{A201AC62-8545-4C8E-B7C9-7E6A09CC3C4D}"/>
          </ac:picMkLst>
        </pc:picChg>
      </pc:sldChg>
      <pc:sldChg chg="modSp mod">
        <pc:chgData name="Andre Batenburg" userId="c6030a91-3587-4b0c-9a04-30c274d4b5d3" providerId="ADAL" clId="{9BBEADA7-45E8-47B6-92A0-3486628C8168}" dt="2022-11-01T11:33:32.625" v="219" actId="20577"/>
        <pc:sldMkLst>
          <pc:docMk/>
          <pc:sldMk cId="3726399744" sldId="285"/>
        </pc:sldMkLst>
        <pc:spChg chg="mod">
          <ac:chgData name="Andre Batenburg" userId="c6030a91-3587-4b0c-9a04-30c274d4b5d3" providerId="ADAL" clId="{9BBEADA7-45E8-47B6-92A0-3486628C8168}" dt="2022-11-01T11:33:32.625" v="219" actId="20577"/>
          <ac:spMkLst>
            <pc:docMk/>
            <pc:sldMk cId="3726399744" sldId="285"/>
            <ac:spMk id="3" creationId="{6A74664F-661B-436E-8A61-5A474F475A5D}"/>
          </ac:spMkLst>
        </pc:spChg>
      </pc:sldChg>
      <pc:sldChg chg="modSp mod">
        <pc:chgData name="Andre Batenburg" userId="c6030a91-3587-4b0c-9a04-30c274d4b5d3" providerId="ADAL" clId="{9BBEADA7-45E8-47B6-92A0-3486628C8168}" dt="2022-11-03T06:31:19.983" v="255" actId="13926"/>
        <pc:sldMkLst>
          <pc:docMk/>
          <pc:sldMk cId="2812970303" sldId="286"/>
        </pc:sldMkLst>
        <pc:spChg chg="mod">
          <ac:chgData name="Andre Batenburg" userId="c6030a91-3587-4b0c-9a04-30c274d4b5d3" providerId="ADAL" clId="{9BBEADA7-45E8-47B6-92A0-3486628C8168}" dt="2022-11-03T06:31:19.983" v="255" actId="13926"/>
          <ac:spMkLst>
            <pc:docMk/>
            <pc:sldMk cId="2812970303" sldId="286"/>
            <ac:spMk id="2" creationId="{F0AAD7FE-5E38-4909-B2A9-AACFE7437F07}"/>
          </ac:spMkLst>
        </pc:spChg>
      </pc:sldChg>
      <pc:sldChg chg="modSp mod">
        <pc:chgData name="Andre Batenburg" userId="c6030a91-3587-4b0c-9a04-30c274d4b5d3" providerId="ADAL" clId="{9BBEADA7-45E8-47B6-92A0-3486628C8168}" dt="2022-11-03T06:33:30.798" v="260" actId="13926"/>
        <pc:sldMkLst>
          <pc:docMk/>
          <pc:sldMk cId="142520883" sldId="288"/>
        </pc:sldMkLst>
        <pc:spChg chg="mod">
          <ac:chgData name="Andre Batenburg" userId="c6030a91-3587-4b0c-9a04-30c274d4b5d3" providerId="ADAL" clId="{9BBEADA7-45E8-47B6-92A0-3486628C8168}" dt="2022-11-03T06:33:30.798" v="260" actId="13926"/>
          <ac:spMkLst>
            <pc:docMk/>
            <pc:sldMk cId="142520883" sldId="288"/>
            <ac:spMk id="8" creationId="{5D62039C-4257-4387-B42E-DD7B3BA42371}"/>
          </ac:spMkLst>
        </pc:spChg>
      </pc:sldChg>
      <pc:sldChg chg="modSp mod">
        <pc:chgData name="Andre Batenburg" userId="c6030a91-3587-4b0c-9a04-30c274d4b5d3" providerId="ADAL" clId="{9BBEADA7-45E8-47B6-92A0-3486628C8168}" dt="2022-11-01T10:57:10.557" v="92" actId="13926"/>
        <pc:sldMkLst>
          <pc:docMk/>
          <pc:sldMk cId="3059244874" sldId="292"/>
        </pc:sldMkLst>
        <pc:spChg chg="mod">
          <ac:chgData name="Andre Batenburg" userId="c6030a91-3587-4b0c-9a04-30c274d4b5d3" providerId="ADAL" clId="{9BBEADA7-45E8-47B6-92A0-3486628C8168}" dt="2022-11-01T10:57:10.557" v="92" actId="13926"/>
          <ac:spMkLst>
            <pc:docMk/>
            <pc:sldMk cId="3059244874" sldId="292"/>
            <ac:spMk id="2" creationId="{DF28D848-D110-496F-AD28-2AE95E553C95}"/>
          </ac:spMkLst>
        </pc:spChg>
        <pc:spChg chg="mod">
          <ac:chgData name="Andre Batenburg" userId="c6030a91-3587-4b0c-9a04-30c274d4b5d3" providerId="ADAL" clId="{9BBEADA7-45E8-47B6-92A0-3486628C8168}" dt="2022-11-01T10:57:07.907" v="91" actId="13926"/>
          <ac:spMkLst>
            <pc:docMk/>
            <pc:sldMk cId="3059244874" sldId="292"/>
            <ac:spMk id="3" creationId="{703326AC-DD39-415A-823D-1FD6D8613B4D}"/>
          </ac:spMkLst>
        </pc:spChg>
      </pc:sldChg>
      <pc:sldChg chg="modSp mod">
        <pc:chgData name="Andre Batenburg" userId="c6030a91-3587-4b0c-9a04-30c274d4b5d3" providerId="ADAL" clId="{9BBEADA7-45E8-47B6-92A0-3486628C8168}" dt="2022-11-03T06:30:41.194" v="253" actId="13926"/>
        <pc:sldMkLst>
          <pc:docMk/>
          <pc:sldMk cId="2376113798" sldId="293"/>
        </pc:sldMkLst>
        <pc:spChg chg="mod">
          <ac:chgData name="Andre Batenburg" userId="c6030a91-3587-4b0c-9a04-30c274d4b5d3" providerId="ADAL" clId="{9BBEADA7-45E8-47B6-92A0-3486628C8168}" dt="2022-11-03T06:30:25.583" v="252" actId="13926"/>
          <ac:spMkLst>
            <pc:docMk/>
            <pc:sldMk cId="2376113798" sldId="293"/>
            <ac:spMk id="2" creationId="{0D056B63-9CD9-42E5-AB19-162E67F6CE04}"/>
          </ac:spMkLst>
        </pc:spChg>
        <pc:spChg chg="mod">
          <ac:chgData name="Andre Batenburg" userId="c6030a91-3587-4b0c-9a04-30c274d4b5d3" providerId="ADAL" clId="{9BBEADA7-45E8-47B6-92A0-3486628C8168}" dt="2022-11-03T06:30:41.194" v="253" actId="13926"/>
          <ac:spMkLst>
            <pc:docMk/>
            <pc:sldMk cId="2376113798" sldId="293"/>
            <ac:spMk id="3" creationId="{2F444D9E-FF65-4DCB-B619-62C87039C077}"/>
          </ac:spMkLst>
        </pc:spChg>
      </pc:sldChg>
      <pc:sldChg chg="modSp mod">
        <pc:chgData name="Andre Batenburg" userId="c6030a91-3587-4b0c-9a04-30c274d4b5d3" providerId="ADAL" clId="{9BBEADA7-45E8-47B6-92A0-3486628C8168}" dt="2022-11-01T10:57:51.756" v="94" actId="13926"/>
        <pc:sldMkLst>
          <pc:docMk/>
          <pc:sldMk cId="1980481955" sldId="294"/>
        </pc:sldMkLst>
        <pc:spChg chg="mod">
          <ac:chgData name="Andre Batenburg" userId="c6030a91-3587-4b0c-9a04-30c274d4b5d3" providerId="ADAL" clId="{9BBEADA7-45E8-47B6-92A0-3486628C8168}" dt="2022-11-01T10:57:51.756" v="94" actId="13926"/>
          <ac:spMkLst>
            <pc:docMk/>
            <pc:sldMk cId="1980481955" sldId="294"/>
            <ac:spMk id="2" creationId="{8365D70B-BE1E-4E74-95C1-6B212A60C32F}"/>
          </ac:spMkLst>
        </pc:spChg>
        <pc:spChg chg="mod">
          <ac:chgData name="Andre Batenburg" userId="c6030a91-3587-4b0c-9a04-30c274d4b5d3" providerId="ADAL" clId="{9BBEADA7-45E8-47B6-92A0-3486628C8168}" dt="2022-11-01T10:57:49.327" v="93" actId="13926"/>
          <ac:spMkLst>
            <pc:docMk/>
            <pc:sldMk cId="1980481955" sldId="294"/>
            <ac:spMk id="3" creationId="{431A05E7-2535-4193-AD75-234F5E2B6AEA}"/>
          </ac:spMkLst>
        </pc:spChg>
      </pc:sldChg>
      <pc:sldChg chg="modSp mod">
        <pc:chgData name="Andre Batenburg" userId="c6030a91-3587-4b0c-9a04-30c274d4b5d3" providerId="ADAL" clId="{9BBEADA7-45E8-47B6-92A0-3486628C8168}" dt="2022-11-01T11:23:08.030" v="174" actId="13926"/>
        <pc:sldMkLst>
          <pc:docMk/>
          <pc:sldMk cId="1149580846" sldId="295"/>
        </pc:sldMkLst>
        <pc:spChg chg="mod">
          <ac:chgData name="Andre Batenburg" userId="c6030a91-3587-4b0c-9a04-30c274d4b5d3" providerId="ADAL" clId="{9BBEADA7-45E8-47B6-92A0-3486628C8168}" dt="2022-11-01T11:23:08.030" v="174" actId="13926"/>
          <ac:spMkLst>
            <pc:docMk/>
            <pc:sldMk cId="1149580846" sldId="295"/>
            <ac:spMk id="3" creationId="{0AF16333-C786-42E4-9390-944549E86B1E}"/>
          </ac:spMkLst>
        </pc:spChg>
      </pc:sldChg>
      <pc:sldChg chg="modSp mod">
        <pc:chgData name="Andre Batenburg" userId="c6030a91-3587-4b0c-9a04-30c274d4b5d3" providerId="ADAL" clId="{9BBEADA7-45E8-47B6-92A0-3486628C8168}" dt="2022-11-01T11:27:33.598" v="176" actId="13926"/>
        <pc:sldMkLst>
          <pc:docMk/>
          <pc:sldMk cId="3813723346" sldId="296"/>
        </pc:sldMkLst>
        <pc:spChg chg="mod">
          <ac:chgData name="Andre Batenburg" userId="c6030a91-3587-4b0c-9a04-30c274d4b5d3" providerId="ADAL" clId="{9BBEADA7-45E8-47B6-92A0-3486628C8168}" dt="2022-11-01T11:27:29.549" v="175" actId="13926"/>
          <ac:spMkLst>
            <pc:docMk/>
            <pc:sldMk cId="3813723346" sldId="296"/>
            <ac:spMk id="2" creationId="{381AC8FB-7CF5-47FA-83DD-FFD6C60370B2}"/>
          </ac:spMkLst>
        </pc:spChg>
        <pc:spChg chg="mod">
          <ac:chgData name="Andre Batenburg" userId="c6030a91-3587-4b0c-9a04-30c274d4b5d3" providerId="ADAL" clId="{9BBEADA7-45E8-47B6-92A0-3486628C8168}" dt="2022-11-01T11:27:33.598" v="176" actId="13926"/>
          <ac:spMkLst>
            <pc:docMk/>
            <pc:sldMk cId="3813723346" sldId="296"/>
            <ac:spMk id="3" creationId="{0AF16333-C786-42E4-9390-944549E86B1E}"/>
          </ac:spMkLst>
        </pc:spChg>
      </pc:sldChg>
      <pc:sldChg chg="modSp mod">
        <pc:chgData name="Andre Batenburg" userId="c6030a91-3587-4b0c-9a04-30c274d4b5d3" providerId="ADAL" clId="{9BBEADA7-45E8-47B6-92A0-3486628C8168}" dt="2022-11-01T11:27:50.278" v="178" actId="13926"/>
        <pc:sldMkLst>
          <pc:docMk/>
          <pc:sldMk cId="835859289" sldId="297"/>
        </pc:sldMkLst>
        <pc:spChg chg="mod">
          <ac:chgData name="Andre Batenburg" userId="c6030a91-3587-4b0c-9a04-30c274d4b5d3" providerId="ADAL" clId="{9BBEADA7-45E8-47B6-92A0-3486628C8168}" dt="2022-11-01T11:27:46.433" v="177" actId="13926"/>
          <ac:spMkLst>
            <pc:docMk/>
            <pc:sldMk cId="835859289" sldId="297"/>
            <ac:spMk id="2" creationId="{381AC8FB-7CF5-47FA-83DD-FFD6C60370B2}"/>
          </ac:spMkLst>
        </pc:spChg>
        <pc:spChg chg="mod">
          <ac:chgData name="Andre Batenburg" userId="c6030a91-3587-4b0c-9a04-30c274d4b5d3" providerId="ADAL" clId="{9BBEADA7-45E8-47B6-92A0-3486628C8168}" dt="2022-11-01T11:27:50.278" v="178" actId="13926"/>
          <ac:spMkLst>
            <pc:docMk/>
            <pc:sldMk cId="835859289" sldId="297"/>
            <ac:spMk id="3" creationId="{0AF16333-C786-42E4-9390-944549E86B1E}"/>
          </ac:spMkLst>
        </pc:spChg>
      </pc:sldChg>
      <pc:sldChg chg="modSp mod">
        <pc:chgData name="Andre Batenburg" userId="c6030a91-3587-4b0c-9a04-30c274d4b5d3" providerId="ADAL" clId="{9BBEADA7-45E8-47B6-92A0-3486628C8168}" dt="2022-11-03T06:37:22.074" v="269" actId="20577"/>
        <pc:sldMkLst>
          <pc:docMk/>
          <pc:sldMk cId="2309313669" sldId="298"/>
        </pc:sldMkLst>
        <pc:spChg chg="mod">
          <ac:chgData name="Andre Batenburg" userId="c6030a91-3587-4b0c-9a04-30c274d4b5d3" providerId="ADAL" clId="{9BBEADA7-45E8-47B6-92A0-3486628C8168}" dt="2022-11-03T06:37:22.074" v="269" actId="20577"/>
          <ac:spMkLst>
            <pc:docMk/>
            <pc:sldMk cId="2309313669" sldId="298"/>
            <ac:spMk id="3" creationId="{CD972408-CF28-43F2-B207-7D5B4304B6EE}"/>
          </ac:spMkLst>
        </pc:spChg>
        <pc:graphicFrameChg chg="modGraphic">
          <ac:chgData name="Andre Batenburg" userId="c6030a91-3587-4b0c-9a04-30c274d4b5d3" providerId="ADAL" clId="{9BBEADA7-45E8-47B6-92A0-3486628C8168}" dt="2022-11-03T06:36:19.576" v="261" actId="13926"/>
          <ac:graphicFrameMkLst>
            <pc:docMk/>
            <pc:sldMk cId="2309313669" sldId="298"/>
            <ac:graphicFrameMk id="7" creationId="{FA3BA9BB-0A72-47A8-9FB2-78B7DCEFB251}"/>
          </ac:graphicFrameMkLst>
        </pc:graphicFrameChg>
      </pc:sldChg>
      <pc:sldChg chg="modSp mod">
        <pc:chgData name="Andre Batenburg" userId="c6030a91-3587-4b0c-9a04-30c274d4b5d3" providerId="ADAL" clId="{9BBEADA7-45E8-47B6-92A0-3486628C8168}" dt="2022-11-03T06:37:33.812" v="272" actId="6549"/>
        <pc:sldMkLst>
          <pc:docMk/>
          <pc:sldMk cId="1791770329" sldId="299"/>
        </pc:sldMkLst>
        <pc:spChg chg="mod">
          <ac:chgData name="Andre Batenburg" userId="c6030a91-3587-4b0c-9a04-30c274d4b5d3" providerId="ADAL" clId="{9BBEADA7-45E8-47B6-92A0-3486628C8168}" dt="2022-11-03T06:37:33.812" v="272" actId="6549"/>
          <ac:spMkLst>
            <pc:docMk/>
            <pc:sldMk cId="1791770329" sldId="299"/>
            <ac:spMk id="3" creationId="{CD972408-CF28-43F2-B207-7D5B4304B6EE}"/>
          </ac:spMkLst>
        </pc:spChg>
        <pc:graphicFrameChg chg="modGraphic">
          <ac:chgData name="Andre Batenburg" userId="c6030a91-3587-4b0c-9a04-30c274d4b5d3" providerId="ADAL" clId="{9BBEADA7-45E8-47B6-92A0-3486628C8168}" dt="2022-11-03T06:36:24.135" v="262" actId="13926"/>
          <ac:graphicFrameMkLst>
            <pc:docMk/>
            <pc:sldMk cId="1791770329" sldId="299"/>
            <ac:graphicFrameMk id="7" creationId="{FA3BA9BB-0A72-47A8-9FB2-78B7DCEFB251}"/>
          </ac:graphicFrameMkLst>
        </pc:graphicFrameChg>
      </pc:sldChg>
      <pc:sldChg chg="modSp mod">
        <pc:chgData name="Andre Batenburg" userId="c6030a91-3587-4b0c-9a04-30c274d4b5d3" providerId="ADAL" clId="{9BBEADA7-45E8-47B6-92A0-3486628C8168}" dt="2022-11-03T06:37:42.423" v="275" actId="20577"/>
        <pc:sldMkLst>
          <pc:docMk/>
          <pc:sldMk cId="1882584054" sldId="300"/>
        </pc:sldMkLst>
        <pc:spChg chg="mod">
          <ac:chgData name="Andre Batenburg" userId="c6030a91-3587-4b0c-9a04-30c274d4b5d3" providerId="ADAL" clId="{9BBEADA7-45E8-47B6-92A0-3486628C8168}" dt="2022-11-03T06:37:42.423" v="275" actId="20577"/>
          <ac:spMkLst>
            <pc:docMk/>
            <pc:sldMk cId="1882584054" sldId="300"/>
            <ac:spMk id="3" creationId="{CD972408-CF28-43F2-B207-7D5B4304B6EE}"/>
          </ac:spMkLst>
        </pc:spChg>
        <pc:graphicFrameChg chg="modGraphic">
          <ac:chgData name="Andre Batenburg" userId="c6030a91-3587-4b0c-9a04-30c274d4b5d3" providerId="ADAL" clId="{9BBEADA7-45E8-47B6-92A0-3486628C8168}" dt="2022-11-03T06:36:29.367" v="263" actId="13926"/>
          <ac:graphicFrameMkLst>
            <pc:docMk/>
            <pc:sldMk cId="1882584054" sldId="300"/>
            <ac:graphicFrameMk id="7" creationId="{FA3BA9BB-0A72-47A8-9FB2-78B7DCEFB251}"/>
          </ac:graphicFrameMkLst>
        </pc:graphicFrameChg>
      </pc:sldChg>
      <pc:sldChg chg="addSp delSp modSp new mod">
        <pc:chgData name="Andre Batenburg" userId="c6030a91-3587-4b0c-9a04-30c274d4b5d3" providerId="ADAL" clId="{9BBEADA7-45E8-47B6-92A0-3486628C8168}" dt="2022-11-04T14:50:28.608" v="377" actId="1076"/>
        <pc:sldMkLst>
          <pc:docMk/>
          <pc:sldMk cId="166880115" sldId="301"/>
        </pc:sldMkLst>
        <pc:spChg chg="mod">
          <ac:chgData name="Andre Batenburg" userId="c6030a91-3587-4b0c-9a04-30c274d4b5d3" providerId="ADAL" clId="{9BBEADA7-45E8-47B6-92A0-3486628C8168}" dt="2022-11-03T06:40:34.904" v="291" actId="20577"/>
          <ac:spMkLst>
            <pc:docMk/>
            <pc:sldMk cId="166880115" sldId="301"/>
            <ac:spMk id="2" creationId="{B3D21B35-C17B-1243-FB26-70161DFADD45}"/>
          </ac:spMkLst>
        </pc:spChg>
        <pc:spChg chg="del">
          <ac:chgData name="Andre Batenburg" userId="c6030a91-3587-4b0c-9a04-30c274d4b5d3" providerId="ADAL" clId="{9BBEADA7-45E8-47B6-92A0-3486628C8168}" dt="2022-11-03T06:40:38.124" v="292" actId="478"/>
          <ac:spMkLst>
            <pc:docMk/>
            <pc:sldMk cId="166880115" sldId="301"/>
            <ac:spMk id="3" creationId="{DB3837E0-A985-D7F1-6152-37239B15E185}"/>
          </ac:spMkLst>
        </pc:spChg>
        <pc:picChg chg="add mod">
          <ac:chgData name="Andre Batenburg" userId="c6030a91-3587-4b0c-9a04-30c274d4b5d3" providerId="ADAL" clId="{9BBEADA7-45E8-47B6-92A0-3486628C8168}" dt="2022-11-04T14:50:28.608" v="377" actId="1076"/>
          <ac:picMkLst>
            <pc:docMk/>
            <pc:sldMk cId="166880115" sldId="301"/>
            <ac:picMk id="6" creationId="{E85D00C4-9BB6-3725-7C5F-2F0F5406929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4-11-2022</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4-11-2022</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3.ti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882462" y="2714400"/>
            <a:ext cx="3546663"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710652"/>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571500" y="1308190"/>
            <a:ext cx="3546663"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571500" y="701083"/>
            <a:ext cx="4914900"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16465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79357" y="4807511"/>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2" name="Slide Number Placeholder 1"/>
          <p:cNvSpPr>
            <a:spLocks noGrp="1"/>
          </p:cNvSpPr>
          <p:nvPr>
            <p:ph type="sldNum" sz="quarter" idx="12"/>
          </p:nvPr>
        </p:nvSpPr>
        <p:spPr>
          <a:xfrm>
            <a:off x="624849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2367757" y="1992355"/>
            <a:ext cx="4141786" cy="434093"/>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5916708" y="2719481"/>
            <a:ext cx="2541586" cy="248017"/>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15638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579036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71500" y="1357070"/>
            <a:ext cx="8283575" cy="331116"/>
          </a:xfrm>
          <a:prstGeom prst="rect">
            <a:avLst/>
          </a:prstGeom>
        </p:spPr>
        <p:txBody>
          <a:bodyPr wrap="square" anchor="b">
            <a:spAutoFit/>
          </a:bodyPr>
          <a:lstStyle>
            <a:lvl1pPr marL="0" indent="0">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a:t>Klik om tekst toe te voegen</a:t>
            </a:r>
          </a:p>
        </p:txBody>
      </p:sp>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594728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788469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935332"/>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935331"/>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571499"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4809671"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858398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2"/>
          </p:nvPr>
        </p:nvSpPr>
        <p:spPr>
          <a:xfrm>
            <a:off x="6329176"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67426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882462" y="2714400"/>
            <a:ext cx="3538800"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882461" y="1938337"/>
            <a:ext cx="4770194"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578799" y="1752300"/>
            <a:ext cx="565200" cy="3391200"/>
          </a:xfrm>
          <a:prstGeom prst="rect">
            <a:avLst/>
          </a:prstGeom>
        </p:spPr>
      </p:pic>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507180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86130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3838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77067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841833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885305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99297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882462" y="1936800"/>
            <a:ext cx="4659356" cy="5832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96855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682000" y="4795200"/>
            <a:ext cx="28956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6274800" y="4795200"/>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571500" y="1428750"/>
            <a:ext cx="7837488" cy="313967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571500" y="701083"/>
            <a:ext cx="7837488" cy="492443"/>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8" r:id="rId4"/>
    <p:sldLayoutId id="2147483669" r:id="rId5"/>
    <p:sldLayoutId id="2147483670" r:id="rId6"/>
    <p:sldLayoutId id="2147483671" r:id="rId7"/>
    <p:sldLayoutId id="2147483672" r:id="rId8"/>
    <p:sldLayoutId id="2147483677" r:id="rId9"/>
    <p:sldLayoutId id="2147483650" r:id="rId10"/>
    <p:sldLayoutId id="2147483673" r:id="rId11"/>
    <p:sldLayoutId id="2147483655" r:id="rId12"/>
    <p:sldLayoutId id="2147483675" r:id="rId13"/>
    <p:sldLayoutId id="2147483651" r:id="rId14"/>
    <p:sldLayoutId id="2147483652" r:id="rId15"/>
    <p:sldLayoutId id="2147483676" r:id="rId16"/>
    <p:sldLayoutId id="2147483654" r:id="rId17"/>
    <p:sldLayoutId id="2147483662" r:id="rId18"/>
  </p:sldLayoutIdLst>
  <p:hf hd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9.xml"/><Relationship Id="rId9" Type="http://schemas.openxmlformats.org/officeDocument/2006/relationships/hyperlink" Target="http://learningguide.pzh.local/html/chapter_D8718761-60C9-480B-9E38-E1E8AFB9EA3F.ht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hyperlink" Target="http://www.data.europa.eu/"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opengroup.org/archimate-forum/archimate-overview" TargetMode="External"/><Relationship Id="rId2" Type="http://schemas.openxmlformats.org/officeDocument/2006/relationships/hyperlink" Target="https://www.opengroup.org/" TargetMode="External"/><Relationship Id="rId1" Type="http://schemas.openxmlformats.org/officeDocument/2006/relationships/slideLayout" Target="../slideLayouts/slideLayout10.xml"/><Relationship Id="rId6" Type="http://schemas.openxmlformats.org/officeDocument/2006/relationships/hyperlink" Target="https://www.archimatetool.com/blog/2020/04/18/c4-model-architecture-viewpoint-and-archi-4-7/" TargetMode="External"/><Relationship Id="rId5" Type="http://schemas.openxmlformats.org/officeDocument/2006/relationships/hyperlink" Target="https://www.infoq.com/articles/C4-architecture-model/" TargetMode="External"/><Relationship Id="rId4" Type="http://schemas.openxmlformats.org/officeDocument/2006/relationships/hyperlink" Target="https://www.archimatetool.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p:txBody>
          <a:bodyPr/>
          <a:lstStyle/>
          <a:p>
            <a:r>
              <a:rPr lang="nl-NL" dirty="0"/>
              <a:t>Algoritmeregister</a:t>
            </a:r>
          </a:p>
        </p:txBody>
      </p:sp>
      <p:sp>
        <p:nvSpPr>
          <p:cNvPr id="7" name="Subtitle 6"/>
          <p:cNvSpPr>
            <a:spLocks noGrp="1"/>
          </p:cNvSpPr>
          <p:nvPr>
            <p:ph type="subTitle" idx="1"/>
            <p:custDataLst>
              <p:tags r:id="rId3"/>
            </p:custDataLst>
          </p:nvPr>
        </p:nvSpPr>
        <p:spPr>
          <a:xfrm>
            <a:off x="882462" y="2714400"/>
            <a:ext cx="3546663" cy="1109343"/>
          </a:xfrm>
        </p:spPr>
        <p:txBody>
          <a:bodyPr/>
          <a:lstStyle/>
          <a:p>
            <a:r>
              <a:rPr lang="en-US" i="1" dirty="0"/>
              <a:t>A mathematical formula should never be "owned" by anybody! Mathematics belongs to God. Donald Knuth.</a:t>
            </a:r>
          </a:p>
        </p:txBody>
      </p:sp>
      <p:sp>
        <p:nvSpPr>
          <p:cNvPr id="5" name="Rectangle 4">
            <a:hlinkClick r:id="rId9"/>
          </p:cNvPr>
          <p:cNvSpPr/>
          <p:nvPr>
            <p:custDataLst>
              <p:tags r:id="rId4"/>
            </p:custDataLst>
          </p:nvPr>
        </p:nvSpPr>
        <p:spPr>
          <a:xfrm>
            <a:off x="5846763" y="3950622"/>
            <a:ext cx="2574938" cy="1084532"/>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A. Batenburg, 4 november 2022</a:t>
            </a:r>
          </a:p>
        </p:txBody>
      </p:sp>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t>Richtlijnen voor de ontwikkelde applicaties</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85000" lnSpcReduction="10000"/>
          </a:bodyPr>
          <a:lstStyle/>
          <a:p>
            <a:r>
              <a:rPr lang="nl-NL" dirty="0"/>
              <a:t>De applicaties die voor het AR worden ontwikkeld voldoen aan:</a:t>
            </a:r>
          </a:p>
          <a:p>
            <a:pPr lvl="1"/>
            <a:r>
              <a:rPr lang="nl-NL" dirty="0"/>
              <a:t>een extern gebruikte webapplicatie of mobiele webapp voldoet aan het cookie-beleid zoals dat is verankerd in de Telecommunicatiewet.</a:t>
            </a:r>
          </a:p>
          <a:p>
            <a:pPr lvl="1"/>
            <a:r>
              <a:rPr lang="nl-NL" dirty="0"/>
              <a:t>een interne website, een externe website of een mobiele webapp dient te voldoen aan de subset van de eisen van </a:t>
            </a:r>
            <a:r>
              <a:rPr lang="nl-NL" dirty="0" err="1"/>
              <a:t>Digitoegankelijk</a:t>
            </a:r>
            <a:r>
              <a:rPr lang="nl-NL" dirty="0"/>
              <a:t> met classificatie A of classificatie AA.</a:t>
            </a:r>
          </a:p>
          <a:p>
            <a:pPr lvl="1"/>
            <a:r>
              <a:rPr lang="nl-NL" dirty="0"/>
              <a:t>een intern gebruikte webapplicatie dient </a:t>
            </a:r>
            <a:r>
              <a:rPr lang="nl-NL" i="1" dirty="0"/>
              <a:t>in beginsel </a:t>
            </a:r>
            <a:r>
              <a:rPr lang="nl-NL" dirty="0"/>
              <a:t>te voldoen aan de subset van de eisen van </a:t>
            </a:r>
            <a:r>
              <a:rPr lang="nl-NL" dirty="0" err="1"/>
              <a:t>Digitoegankelijk</a:t>
            </a:r>
            <a:r>
              <a:rPr lang="nl-NL" dirty="0"/>
              <a:t> met classificatie A of classificatie AA.</a:t>
            </a:r>
          </a:p>
          <a:p>
            <a:pPr lvl="1"/>
            <a:r>
              <a:rPr lang="nl-NL" dirty="0"/>
              <a:t>een mobiele app dient te voldoen aan de hele set van ICT-beveiligingsrichtlijnen voor mobiele apps.</a:t>
            </a:r>
          </a:p>
          <a:p>
            <a:pPr lvl="1"/>
            <a:r>
              <a:rPr lang="nl-NL" dirty="0"/>
              <a:t>Een applicatie die gebruik maakt van een browser (HTML) ondersteunt de meest gebruikte browsers: Chrome, Firefox, Safari, </a:t>
            </a:r>
            <a:r>
              <a:rPr lang="nl-NL" dirty="0" err="1"/>
              <a:t>Edge</a:t>
            </a:r>
            <a:r>
              <a:rPr lang="nl-NL" dirty="0"/>
              <a:t>.</a:t>
            </a:r>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5859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Doelen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62500" lnSpcReduction="20000"/>
          </a:bodyPr>
          <a:lstStyle/>
          <a:p>
            <a:r>
              <a:rPr lang="nl-NL" dirty="0"/>
              <a:t>Toch is het idee dat bovenstaande niet helemaal de te hanteren principes geeft. Daarom is aanvullend gekeken naar wat de stakeholders willen. De stakeholders zijn beperkt tot belanghebbende (burger), volksvertegenwoordiger (raadslid), algoritmehouder (verantwoordelijke), proceseigenaar en de uitvoerder (handhaver). Kijkend naar hun user </a:t>
            </a:r>
            <a:r>
              <a:rPr lang="nl-NL" dirty="0" err="1"/>
              <a:t>stories</a:t>
            </a:r>
            <a:r>
              <a:rPr lang="nl-NL" dirty="0"/>
              <a:t> geeft dat een aantal waarden: Vertrouwen, Controleerbaarheid, Minimale eis openbaarheid, Verklaarbaarheid. Daarop is </a:t>
            </a:r>
            <a:r>
              <a:rPr lang="nl-NL" dirty="0" err="1"/>
              <a:t>Outcome</a:t>
            </a:r>
            <a:r>
              <a:rPr lang="nl-NL" dirty="0"/>
              <a:t> gedefinieerd die het doel Openbaarheid algoritmen ondersteunen. Dat levert de volgende vier principes:</a:t>
            </a:r>
          </a:p>
          <a:p>
            <a:pPr lvl="1"/>
            <a:r>
              <a:rPr lang="nl-NL" b="1" dirty="0"/>
              <a:t>Een goede informatiepositie</a:t>
            </a:r>
            <a:r>
              <a:rPr lang="nl-NL" dirty="0"/>
              <a:t>: Informatie is beschikbaar, bruikbaar en bestendig. Informatie wordt begrijpelijk gepresenteerd aan de afnemer (zowel binnen als buiten de organisatie), zodat deze aan het stuur zit omtrent het gebruik van zijn/haar data. Afnemers moeten in staat zijn incorrecte registratie van hun data te signaleren. Let wel: het gaat hier over de transparantie van het algoritme!</a:t>
            </a:r>
          </a:p>
          <a:p>
            <a:pPr lvl="1"/>
            <a:r>
              <a:rPr lang="nl-NL" b="1" dirty="0"/>
              <a:t>Grondslag van algoritme is bekend</a:t>
            </a:r>
            <a:r>
              <a:rPr lang="nl-NL" dirty="0"/>
              <a:t>: er moet een besluit zijn genomen over het gebruik van het algoritme en dat wordt in het AR beschreven.</a:t>
            </a:r>
          </a:p>
          <a:p>
            <a:pPr lvl="1"/>
            <a:r>
              <a:rPr lang="nl-NL" b="1" dirty="0"/>
              <a:t>AR standaard benoemt minimale set</a:t>
            </a:r>
            <a:r>
              <a:rPr lang="nl-NL" dirty="0"/>
              <a:t>: de standaard beschrijft welke gegevens altijd in de beschrijving van een algoritme staan. Dit zorgt dat de algoritmen op een vergelijkbaar informatieniveau zijn ontsloten.</a:t>
            </a:r>
          </a:p>
          <a:p>
            <a:pPr lvl="1"/>
            <a:r>
              <a:rPr lang="nl-NL" b="1" dirty="0"/>
              <a:t>AR standaard omvat werking en data</a:t>
            </a:r>
            <a:r>
              <a:rPr lang="nl-NL" dirty="0"/>
              <a:t>: om een algoritme te kunnen snappen is het een eis de werking van het algoritme en de door het algoritme gebruikte data in het AR te beschrijven. </a:t>
            </a:r>
          </a:p>
          <a:p>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891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t>Doelenmodel</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1</a:t>
            </a:fld>
            <a:endParaRPr lang="nl-NL"/>
          </a:p>
        </p:txBody>
      </p:sp>
      <p:pic>
        <p:nvPicPr>
          <p:cNvPr id="6" name="Afbeelding 5">
            <a:extLst>
              <a:ext uri="{FF2B5EF4-FFF2-40B4-BE49-F238E27FC236}">
                <a16:creationId xmlns:a16="http://schemas.microsoft.com/office/drawing/2014/main" id="{B05D5EEE-39AD-4E01-935F-E37EA1A3BD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9338" y="1053280"/>
            <a:ext cx="6594941" cy="3633226"/>
          </a:xfrm>
          <a:prstGeom prst="rect">
            <a:avLst/>
          </a:prstGeom>
        </p:spPr>
      </p:pic>
    </p:spTree>
    <p:extLst>
      <p:ext uri="{BB962C8B-B14F-4D97-AF65-F5344CB8AC3E}">
        <p14:creationId xmlns:p14="http://schemas.microsoft.com/office/powerpoint/2010/main" val="4145162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a:t>Dit onderdeel beschrijft de bedrijfsobjecten, representaties</a:t>
            </a:r>
            <a:r>
              <a:rPr lang="nl-NL"/>
              <a:t>, bedrijfsfuncties, rollen </a:t>
            </a:r>
            <a:r>
              <a:rPr lang="nl-NL" dirty="0"/>
              <a:t>en actoren.</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a:t>Bedrijfsarchitectuur</a:t>
            </a:r>
          </a:p>
        </p:txBody>
      </p:sp>
      <p:pic>
        <p:nvPicPr>
          <p:cNvPr id="5" name="Afbeelding 4">
            <a:extLst>
              <a:ext uri="{FF2B5EF4-FFF2-40B4-BE49-F238E27FC236}">
                <a16:creationId xmlns:a16="http://schemas.microsoft.com/office/drawing/2014/main" id="{3D5689CB-0AA6-5F1B-D5F3-1070272690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2066" y="1936066"/>
            <a:ext cx="6821901" cy="2858017"/>
          </a:xfrm>
          <a:prstGeom prst="rect">
            <a:avLst/>
          </a:prstGeom>
        </p:spPr>
      </p:pic>
    </p:spTree>
    <p:extLst>
      <p:ext uri="{BB962C8B-B14F-4D97-AF65-F5344CB8AC3E}">
        <p14:creationId xmlns:p14="http://schemas.microsoft.com/office/powerpoint/2010/main" val="55335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Bedrijfsobjecten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92500" lnSpcReduction="10000"/>
          </a:bodyPr>
          <a:lstStyle/>
          <a:p>
            <a:r>
              <a:rPr lang="nl-NL" dirty="0"/>
              <a:t>De hoofdlijn is dat </a:t>
            </a:r>
            <a:r>
              <a:rPr lang="nl-NL" u="sng" dirty="0"/>
              <a:t>de toepassing van een algoritme</a:t>
            </a:r>
            <a:r>
              <a:rPr lang="nl-NL" dirty="0"/>
              <a:t> gebaseerd moet zijn op een grondslag (een wet, een regeling), wordt gebruikt in een </a:t>
            </a:r>
            <a:r>
              <a:rPr lang="nl-NL" u="sng" dirty="0"/>
              <a:t>proces</a:t>
            </a:r>
            <a:r>
              <a:rPr lang="nl-NL" dirty="0"/>
              <a:t> en dat het algoritme gebruik maakt van </a:t>
            </a:r>
            <a:r>
              <a:rPr lang="nl-NL" u="sng" dirty="0"/>
              <a:t>data</a:t>
            </a:r>
            <a:r>
              <a:rPr lang="nl-NL" dirty="0"/>
              <a:t>. Dat is de scope van de informatie die je over de toepassing van een algoritme nodig hebt.</a:t>
            </a:r>
          </a:p>
          <a:p>
            <a:r>
              <a:rPr lang="nl-NL" dirty="0"/>
              <a:t>In het proces is </a:t>
            </a:r>
            <a:r>
              <a:rPr lang="nl-NL" u="sng" dirty="0"/>
              <a:t>de uitkomst van het algoritme</a:t>
            </a:r>
            <a:r>
              <a:rPr lang="nl-NL" dirty="0"/>
              <a:t> input om tot een besluit te komen.</a:t>
            </a:r>
          </a:p>
          <a:p>
            <a:r>
              <a:rPr lang="nl-NL" dirty="0"/>
              <a:t>Het besluit kan je aanvechten en daartegen dien je dan bezwaar in of stel je beroep in. Impliciet kan dat bezwaar of het beroep dan gaan over het algoritme. Maar je dient niet expliciet een bezwaar in tegen het algoritme zelf. Wel kan je bezwaar indienen of beroep instellen tegen het besluit om het algoritme in te zetten. Dat zo’n besluit er moet zijn is echter niet wettelijk geregeld.</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113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t>Bedrijfsobjectenmodel</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4</a:t>
            </a:fld>
            <a:endParaRPr lang="nl-NL"/>
          </a:p>
        </p:txBody>
      </p:sp>
      <p:pic>
        <p:nvPicPr>
          <p:cNvPr id="7" name="Afbeelding 6">
            <a:extLst>
              <a:ext uri="{FF2B5EF4-FFF2-40B4-BE49-F238E27FC236}">
                <a16:creationId xmlns:a16="http://schemas.microsoft.com/office/drawing/2014/main" id="{B75D6EDA-2150-45C6-8C21-5B86E8AC6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203095"/>
            <a:ext cx="6663178" cy="3395351"/>
          </a:xfrm>
          <a:prstGeom prst="rect">
            <a:avLst/>
          </a:prstGeom>
        </p:spPr>
      </p:pic>
    </p:spTree>
    <p:extLst>
      <p:ext uri="{BB962C8B-B14F-4D97-AF65-F5344CB8AC3E}">
        <p14:creationId xmlns:p14="http://schemas.microsoft.com/office/powerpoint/2010/main" val="3813584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153B30-C3E5-4159-876F-F3F53110481D}"/>
              </a:ext>
            </a:extLst>
          </p:cNvPr>
          <p:cNvSpPr>
            <a:spLocks noGrp="1"/>
          </p:cNvSpPr>
          <p:nvPr>
            <p:ph type="title"/>
          </p:nvPr>
        </p:nvSpPr>
        <p:spPr/>
        <p:txBody>
          <a:bodyPr/>
          <a:lstStyle/>
          <a:p>
            <a:r>
              <a:rPr lang="nl-NL" dirty="0"/>
              <a:t>Rollen en actoren</a:t>
            </a:r>
          </a:p>
        </p:txBody>
      </p:sp>
      <p:sp>
        <p:nvSpPr>
          <p:cNvPr id="3" name="Tijdelijke aanduiding voor inhoud 2">
            <a:extLst>
              <a:ext uri="{FF2B5EF4-FFF2-40B4-BE49-F238E27FC236}">
                <a16:creationId xmlns:a16="http://schemas.microsoft.com/office/drawing/2014/main" id="{C211C2AD-0BAA-4F9C-BB4C-FBEAA913AE45}"/>
              </a:ext>
            </a:extLst>
          </p:cNvPr>
          <p:cNvSpPr>
            <a:spLocks noGrp="1"/>
          </p:cNvSpPr>
          <p:nvPr>
            <p:ph idx="1"/>
          </p:nvPr>
        </p:nvSpPr>
        <p:spPr>
          <a:xfrm>
            <a:off x="645459" y="1405697"/>
            <a:ext cx="7763529" cy="3139679"/>
          </a:xfrm>
        </p:spPr>
        <p:txBody>
          <a:bodyPr>
            <a:normAutofit fontScale="92500"/>
          </a:bodyPr>
          <a:lstStyle/>
          <a:p>
            <a:r>
              <a:rPr lang="nl-NL" dirty="0"/>
              <a:t>Vanuit de user </a:t>
            </a:r>
            <a:r>
              <a:rPr lang="nl-NL" dirty="0" err="1"/>
              <a:t>stories</a:t>
            </a:r>
            <a:r>
              <a:rPr lang="nl-NL" dirty="0"/>
              <a:t> zijn de volgende rollen van belang vanuit het </a:t>
            </a:r>
            <a:r>
              <a:rPr lang="nl-NL" b="1" dirty="0"/>
              <a:t>gebruik</a:t>
            </a:r>
            <a:r>
              <a:rPr lang="nl-NL" dirty="0"/>
              <a:t> van het algoritmeregister, die zijn in de figuur oranje gemarkeerd: belanghebbende (focus op burger), volksvertegenwoordiger, proceseigenaar, uitvoerder (focus op handhaver) en algoritmehouder.</a:t>
            </a:r>
          </a:p>
          <a:p>
            <a:r>
              <a:rPr lang="nl-NL" dirty="0"/>
              <a:t>De volgende rollen zijn van belang vanuit het oogpunt van de </a:t>
            </a:r>
            <a:r>
              <a:rPr lang="nl-NL" b="1" dirty="0"/>
              <a:t>inhoud</a:t>
            </a:r>
            <a:r>
              <a:rPr lang="nl-NL" dirty="0"/>
              <a:t> van het algoritmeregister: software ontwikkelaar, algoritme toezichthouder en auditor, data bronhouder, proces eigenaar en dienst eigenaar. Bijvoorbeeld omdat zij informatie leveren over het algoritme.</a:t>
            </a:r>
          </a:p>
          <a:p>
            <a:r>
              <a:rPr lang="nl-NL" dirty="0"/>
              <a:t>De bestuurder is van belang omdat deze een besluit neemt over de </a:t>
            </a:r>
            <a:r>
              <a:rPr lang="nl-NL" b="1" dirty="0"/>
              <a:t>grondslag</a:t>
            </a:r>
            <a:r>
              <a:rPr lang="nl-NL" dirty="0"/>
              <a:t> waarop het algoritme wordt ingezet.</a:t>
            </a:r>
          </a:p>
        </p:txBody>
      </p:sp>
      <p:sp>
        <p:nvSpPr>
          <p:cNvPr id="4" name="Tijdelijke aanduiding voor voettekst 3">
            <a:extLst>
              <a:ext uri="{FF2B5EF4-FFF2-40B4-BE49-F238E27FC236}">
                <a16:creationId xmlns:a16="http://schemas.microsoft.com/office/drawing/2014/main" id="{15EC3EFB-7AFD-41E6-9FE7-D4CD9C0783BF}"/>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2556DDA4-9699-4CB4-8F21-C327C3B6D6FF}"/>
              </a:ext>
            </a:extLst>
          </p:cNvPr>
          <p:cNvSpPr>
            <a:spLocks noGrp="1"/>
          </p:cNvSpPr>
          <p:nvPr>
            <p:ph type="sldNum" sz="quarter" idx="12"/>
          </p:nvPr>
        </p:nvSpPr>
        <p:spPr/>
        <p:txBody>
          <a:bodyPr/>
          <a:lstStyle/>
          <a:p>
            <a:pPr algn="r"/>
            <a:fld id="{52CD5E70-B072-4ABF-98D2-981DEBBF7F7D}" type="slidenum">
              <a:rPr lang="nl-NL" smtClean="0"/>
              <a:pPr algn="r"/>
              <a:t>1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9786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p:txBody>
          <a:bodyPr>
            <a:normAutofit/>
          </a:bodyPr>
          <a:lstStyle/>
          <a:p>
            <a:pPr>
              <a:lnSpc>
                <a:spcPct val="90000"/>
              </a:lnSpc>
            </a:pPr>
            <a:r>
              <a:rPr lang="nl-NL" sz="2700" dirty="0"/>
              <a:t>Rollen en actoren</a:t>
            </a:r>
          </a:p>
        </p:txBody>
      </p:sp>
      <p:sp>
        <p:nvSpPr>
          <p:cNvPr id="5" name="Tijdelijke aanduiding voor inhoud 4">
            <a:extLst>
              <a:ext uri="{FF2B5EF4-FFF2-40B4-BE49-F238E27FC236}">
                <a16:creationId xmlns:a16="http://schemas.microsoft.com/office/drawing/2014/main" id="{B49515C9-2FFE-4347-A9A2-667222243B45}"/>
              </a:ext>
            </a:extLst>
          </p:cNvPr>
          <p:cNvSpPr>
            <a:spLocks noGrp="1"/>
          </p:cNvSpPr>
          <p:nvPr>
            <p:ph idx="1"/>
          </p:nvPr>
        </p:nvSpPr>
        <p:spPr>
          <a:xfrm>
            <a:off x="7023207" y="1313969"/>
            <a:ext cx="1959428" cy="3423506"/>
          </a:xfrm>
        </p:spPr>
        <p:txBody>
          <a:bodyPr>
            <a:noAutofit/>
          </a:bodyPr>
          <a:lstStyle/>
          <a:p>
            <a:r>
              <a:rPr lang="nl-NL" sz="830" dirty="0"/>
              <a:t>De rollen in scope zijn oranje gekleurd. </a:t>
            </a:r>
          </a:p>
          <a:p>
            <a:r>
              <a:rPr lang="nl-NL" sz="830" dirty="0"/>
              <a:t>Er is onderscheid gemaakt in de rol die verantwoordelijk is voor het toepassen van het algoritme in het proces en de rol die verantwoordelijk is voor het ontwikkelen van het algoritme. De procesverantwoordelijke is tevens de houder van het algoritme. Daarmee zijn de rollen proceseigenaar en algoritmehouder in scope.</a:t>
            </a:r>
          </a:p>
          <a:p>
            <a:r>
              <a:rPr lang="nl-NL" sz="830" dirty="0"/>
              <a:t>De registratie beschrijft niet de (technische) werking van het algoritme zelf, daarmee is de rol van de algoritme-ontwikkelaar/beheerder buiten scope.</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p:txBody>
          <a:bodyPr anchor="t">
            <a:normAutofit/>
          </a:bodyPr>
          <a:lstStyle/>
          <a:p>
            <a:pPr algn="r">
              <a:spcAft>
                <a:spcPts val="600"/>
              </a:spcAft>
            </a:pPr>
            <a:fld id="{52CD5E70-B072-4ABF-98D2-981DEBBF7F7D}" type="slidenum">
              <a:rPr lang="nl-NL" smtClean="0"/>
              <a:pPr algn="r">
                <a:spcAft>
                  <a:spcPts val="600"/>
                </a:spcAft>
              </a:pPr>
              <a:t>16</a:t>
            </a:fld>
            <a:endParaRPr lang="nl-NL"/>
          </a:p>
        </p:txBody>
      </p:sp>
      <p:pic>
        <p:nvPicPr>
          <p:cNvPr id="8" name="Afbeelding 7">
            <a:extLst>
              <a:ext uri="{FF2B5EF4-FFF2-40B4-BE49-F238E27FC236}">
                <a16:creationId xmlns:a16="http://schemas.microsoft.com/office/drawing/2014/main" id="{B95FE0CA-3439-4E91-8033-6C50747E76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75" y="1313969"/>
            <a:ext cx="6329485" cy="3357923"/>
          </a:xfrm>
          <a:prstGeom prst="rect">
            <a:avLst/>
          </a:prstGeom>
        </p:spPr>
      </p:pic>
    </p:spTree>
    <p:extLst>
      <p:ext uri="{BB962C8B-B14F-4D97-AF65-F5344CB8AC3E}">
        <p14:creationId xmlns:p14="http://schemas.microsoft.com/office/powerpoint/2010/main" val="3230109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D21B35-C17B-1243-FB26-70161DFADD45}"/>
              </a:ext>
            </a:extLst>
          </p:cNvPr>
          <p:cNvSpPr>
            <a:spLocks noGrp="1"/>
          </p:cNvSpPr>
          <p:nvPr>
            <p:ph type="title"/>
          </p:nvPr>
        </p:nvSpPr>
        <p:spPr/>
        <p:txBody>
          <a:bodyPr/>
          <a:lstStyle/>
          <a:p>
            <a:r>
              <a:rPr lang="nl-NL" dirty="0"/>
              <a:t>Rollen in scope</a:t>
            </a:r>
          </a:p>
        </p:txBody>
      </p:sp>
      <p:sp>
        <p:nvSpPr>
          <p:cNvPr id="4" name="Tijdelijke aanduiding voor voettekst 3">
            <a:extLst>
              <a:ext uri="{FF2B5EF4-FFF2-40B4-BE49-F238E27FC236}">
                <a16:creationId xmlns:a16="http://schemas.microsoft.com/office/drawing/2014/main" id="{5FF411ED-565C-50FC-F2D1-98D7A18BF4BA}"/>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B76B28D7-9183-F4EB-CA91-94AAC45F0275}"/>
              </a:ext>
            </a:extLst>
          </p:cNvPr>
          <p:cNvSpPr>
            <a:spLocks noGrp="1"/>
          </p:cNvSpPr>
          <p:nvPr>
            <p:ph type="sldNum" sz="quarter" idx="12"/>
          </p:nvPr>
        </p:nvSpPr>
        <p:spPr/>
        <p:txBody>
          <a:bodyPr/>
          <a:lstStyle/>
          <a:p>
            <a:pPr algn="r"/>
            <a:fld id="{52CD5E70-B072-4ABF-98D2-981DEBBF7F7D}" type="slidenum">
              <a:rPr lang="nl-NL" smtClean="0"/>
              <a:pPr algn="r"/>
              <a:t>17</a:t>
            </a:fld>
            <a:endParaRPr lang="nl-NL">
              <a:latin typeface="Calibri" panose="020F0502020204030204" pitchFamily="34" charset="0"/>
              <a:cs typeface="Calibri" panose="020F0502020204030204" pitchFamily="34" charset="0"/>
            </a:endParaRPr>
          </a:p>
        </p:txBody>
      </p:sp>
      <p:pic>
        <p:nvPicPr>
          <p:cNvPr id="6" name="Afbeelding 5">
            <a:extLst>
              <a:ext uri="{FF2B5EF4-FFF2-40B4-BE49-F238E27FC236}">
                <a16:creationId xmlns:a16="http://schemas.microsoft.com/office/drawing/2014/main" id="{E85D00C4-9BB6-3725-7C5F-2F0F540692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1011" y="765008"/>
            <a:ext cx="5238750" cy="4029075"/>
          </a:xfrm>
          <a:prstGeom prst="rect">
            <a:avLst/>
          </a:prstGeom>
        </p:spPr>
      </p:pic>
    </p:spTree>
    <p:extLst>
      <p:ext uri="{BB962C8B-B14F-4D97-AF65-F5344CB8AC3E}">
        <p14:creationId xmlns:p14="http://schemas.microsoft.com/office/powerpoint/2010/main" val="166880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056B63-9CD9-42E5-AB19-162E67F6CE04}"/>
              </a:ext>
            </a:extLst>
          </p:cNvPr>
          <p:cNvSpPr>
            <a:spLocks noGrp="1"/>
          </p:cNvSpPr>
          <p:nvPr>
            <p:ph type="title"/>
          </p:nvPr>
        </p:nvSpPr>
        <p:spPr/>
        <p:txBody>
          <a:bodyPr/>
          <a:lstStyle/>
          <a:p>
            <a:r>
              <a:rPr lang="nl-NL" dirty="0"/>
              <a:t>Rolverdeling besluitvorming en uitvoering</a:t>
            </a:r>
          </a:p>
        </p:txBody>
      </p:sp>
      <p:sp>
        <p:nvSpPr>
          <p:cNvPr id="3" name="Tijdelijke aanduiding voor inhoud 2">
            <a:extLst>
              <a:ext uri="{FF2B5EF4-FFF2-40B4-BE49-F238E27FC236}">
                <a16:creationId xmlns:a16="http://schemas.microsoft.com/office/drawing/2014/main" id="{2F444D9E-FF65-4DCB-B619-62C87039C077}"/>
              </a:ext>
            </a:extLst>
          </p:cNvPr>
          <p:cNvSpPr>
            <a:spLocks noGrp="1"/>
          </p:cNvSpPr>
          <p:nvPr>
            <p:ph idx="1"/>
          </p:nvPr>
        </p:nvSpPr>
        <p:spPr>
          <a:xfrm>
            <a:off x="4771785" y="1428750"/>
            <a:ext cx="3637203" cy="3139679"/>
          </a:xfrm>
        </p:spPr>
        <p:txBody>
          <a:bodyPr>
            <a:normAutofit fontScale="77500" lnSpcReduction="20000"/>
          </a:bodyPr>
          <a:lstStyle/>
          <a:p>
            <a:r>
              <a:rPr lang="nl-NL" dirty="0"/>
              <a:t>Een bestuursorgaan neemt, in de rol van bevoegd gezag, besluiten voor de aan haar toegewezen taken. De uitvoering van de taken kan zijn opgedragen aan een uitvoeringspartner. Een algoritme wordt toegepast in de uitvoering van de taken.</a:t>
            </a:r>
          </a:p>
          <a:p>
            <a:r>
              <a:rPr lang="nl-NL" dirty="0"/>
              <a:t>In die situatie dient het bestuursorgaan de uitvoeringspartner op te dragen de toepassing van het algoritme te registreren. </a:t>
            </a:r>
          </a:p>
          <a:p>
            <a:r>
              <a:rPr lang="nl-NL" dirty="0"/>
              <a:t>Het kan daarbij zijn dat het bestuursorgaan aan de uitvoeringspartner het mandaat verleent om bepaalde besluiten zelf te nemen namens het bevoegd gezag.</a:t>
            </a:r>
          </a:p>
        </p:txBody>
      </p:sp>
      <p:sp>
        <p:nvSpPr>
          <p:cNvPr id="4" name="Tijdelijke aanduiding voor voettekst 3">
            <a:extLst>
              <a:ext uri="{FF2B5EF4-FFF2-40B4-BE49-F238E27FC236}">
                <a16:creationId xmlns:a16="http://schemas.microsoft.com/office/drawing/2014/main" id="{0EFBB232-BA93-4626-B24E-E7CE4AF5B639}"/>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10E83C4C-004B-4EB2-A902-A293E938079D}"/>
              </a:ext>
            </a:extLst>
          </p:cNvPr>
          <p:cNvSpPr>
            <a:spLocks noGrp="1"/>
          </p:cNvSpPr>
          <p:nvPr>
            <p:ph type="sldNum" sz="quarter" idx="12"/>
          </p:nvPr>
        </p:nvSpPr>
        <p:spPr/>
        <p:txBody>
          <a:bodyPr/>
          <a:lstStyle/>
          <a:p>
            <a:pPr algn="r"/>
            <a:fld id="{52CD5E70-B072-4ABF-98D2-981DEBBF7F7D}" type="slidenum">
              <a:rPr lang="nl-NL" smtClean="0"/>
              <a:pPr algn="r"/>
              <a:t>18</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CF72E468-9046-4A34-970A-3031B53D38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012" y="1428751"/>
            <a:ext cx="3475838" cy="3294332"/>
          </a:xfrm>
          <a:prstGeom prst="rect">
            <a:avLst/>
          </a:prstGeom>
        </p:spPr>
      </p:pic>
    </p:spTree>
    <p:extLst>
      <p:ext uri="{BB962C8B-B14F-4D97-AF65-F5344CB8AC3E}">
        <p14:creationId xmlns:p14="http://schemas.microsoft.com/office/powerpoint/2010/main" val="2376113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4A7D0E74-ED2F-40F1-AC19-B7534DC6379E}"/>
              </a:ext>
            </a:extLst>
          </p:cNvPr>
          <p:cNvSpPr>
            <a:spLocks noGrp="1"/>
          </p:cNvSpPr>
          <p:nvPr>
            <p:ph idx="1"/>
          </p:nvPr>
        </p:nvSpPr>
        <p:spPr/>
        <p:txBody>
          <a:bodyPr>
            <a:normAutofit/>
          </a:bodyPr>
          <a:lstStyle/>
          <a:p>
            <a:pPr marL="0" indent="0">
              <a:buNone/>
            </a:pPr>
            <a:r>
              <a:rPr lang="nl-NL" sz="1000" u="sng" dirty="0"/>
              <a:t>Versiebeheer / </a:t>
            </a:r>
            <a:r>
              <a:rPr lang="nl-NL" sz="1000" u="sng" dirty="0" err="1"/>
              <a:t>wijziginghistorie</a:t>
            </a:r>
            <a:endParaRPr lang="nl-NL" sz="1000" u="sng" dirty="0"/>
          </a:p>
          <a:p>
            <a:pPr marL="0" indent="0">
              <a:buNone/>
            </a:pPr>
            <a:r>
              <a:rPr lang="nl-NL" sz="1000" dirty="0"/>
              <a:t>Versie 0.0.1: eerste verkenning, 25 januari 2021</a:t>
            </a:r>
          </a:p>
          <a:p>
            <a:pPr marL="0" indent="0">
              <a:buNone/>
            </a:pPr>
            <a:r>
              <a:rPr lang="nl-NL" sz="1000" dirty="0"/>
              <a:t>Versie 0.0.2: toevoeging van variant zaak, 27 januari 2021</a:t>
            </a:r>
          </a:p>
          <a:p>
            <a:pPr marL="0" indent="0">
              <a:buNone/>
            </a:pPr>
            <a:r>
              <a:rPr lang="nl-NL" sz="1000" dirty="0"/>
              <a:t>Versie 0.0.3: toevoeging van extra rollen, 28 januari 2021</a:t>
            </a:r>
          </a:p>
          <a:p>
            <a:pPr marL="0" indent="0">
              <a:buNone/>
            </a:pPr>
            <a:r>
              <a:rPr lang="nl-NL" sz="1000" dirty="0"/>
              <a:t>Versie 0.0.4: focus gelegd, 5 juli 2021</a:t>
            </a:r>
          </a:p>
          <a:p>
            <a:pPr marL="0" indent="0">
              <a:buNone/>
            </a:pPr>
            <a:r>
              <a:rPr lang="nl-NL" sz="1000" dirty="0"/>
              <a:t>Versie 0.0.5: bijwerken distributielijst, 8 juli 2021</a:t>
            </a:r>
          </a:p>
          <a:p>
            <a:pPr marL="0" indent="0">
              <a:buNone/>
            </a:pPr>
            <a:r>
              <a:rPr lang="nl-NL" sz="1000" dirty="0"/>
              <a:t>Versie 0.0.6: toevoeging van software architectuur, 15 juli 2021</a:t>
            </a:r>
          </a:p>
          <a:p>
            <a:pPr marL="0" indent="0">
              <a:buNone/>
            </a:pPr>
            <a:r>
              <a:rPr lang="nl-NL" sz="1000" dirty="0"/>
              <a:t>Versie 0.1.0: verwerking technische sessie #01, 13 december 2021</a:t>
            </a:r>
          </a:p>
          <a:p>
            <a:pPr marL="0" indent="0">
              <a:buNone/>
            </a:pPr>
            <a:r>
              <a:rPr lang="nl-NL" sz="1000" dirty="0">
                <a:highlight>
                  <a:srgbClr val="FFFF00"/>
                </a:highlight>
              </a:rPr>
              <a:t>Versie 0.2.0: bijwerken standaarden en teksten, 4 november 2022</a:t>
            </a:r>
          </a:p>
        </p:txBody>
      </p:sp>
      <p:sp>
        <p:nvSpPr>
          <p:cNvPr id="5" name="Tijdelijke aanduiding voor inhoud 4">
            <a:extLst>
              <a:ext uri="{FF2B5EF4-FFF2-40B4-BE49-F238E27FC236}">
                <a16:creationId xmlns:a16="http://schemas.microsoft.com/office/drawing/2014/main" id="{C395AE4E-A7D8-464A-9B23-4747629AD39C}"/>
              </a:ext>
            </a:extLst>
          </p:cNvPr>
          <p:cNvSpPr>
            <a:spLocks noGrp="1"/>
          </p:cNvSpPr>
          <p:nvPr>
            <p:ph idx="15"/>
          </p:nvPr>
        </p:nvSpPr>
        <p:spPr>
          <a:xfrm>
            <a:off x="4288971" y="1428750"/>
            <a:ext cx="4437500" cy="3143250"/>
          </a:xfrm>
        </p:spPr>
        <p:txBody>
          <a:bodyPr>
            <a:noAutofit/>
          </a:bodyPr>
          <a:lstStyle/>
          <a:p>
            <a:pPr marL="0" indent="0">
              <a:buNone/>
            </a:pPr>
            <a:r>
              <a:rPr lang="nl-NL" sz="1000" u="sng" dirty="0"/>
              <a:t>Distributielijst</a:t>
            </a:r>
          </a:p>
          <a:p>
            <a:r>
              <a:rPr lang="nl-NL" sz="1000" dirty="0"/>
              <a:t>André Batenburg, informatiearchitectuur</a:t>
            </a:r>
          </a:p>
          <a:p>
            <a:r>
              <a:rPr lang="nl-NL" sz="1000" dirty="0"/>
              <a:t>Anne Schoenmakers, beleidsmedewerker Digitale Transformatie provincie Noord-Brabant</a:t>
            </a:r>
          </a:p>
          <a:p>
            <a:r>
              <a:rPr lang="nl-NL" sz="1000" dirty="0"/>
              <a:t>Bernard Vuijk, projectleider projecten Omgevingswet</a:t>
            </a:r>
          </a:p>
          <a:p>
            <a:r>
              <a:rPr lang="nl-NL" sz="1000" dirty="0"/>
              <a:t>Constantijn Hagenaar, business </a:t>
            </a:r>
            <a:r>
              <a:rPr lang="nl-NL" sz="1000" dirty="0" err="1"/>
              <a:t>analyst</a:t>
            </a:r>
            <a:endParaRPr lang="nl-NL" sz="1000" dirty="0"/>
          </a:p>
          <a:p>
            <a:r>
              <a:rPr lang="nl-NL" sz="1000" dirty="0"/>
              <a:t>Eric Herman, Foundation </a:t>
            </a:r>
            <a:r>
              <a:rPr lang="nl-NL" sz="1000" dirty="0" err="1"/>
              <a:t>for</a:t>
            </a:r>
            <a:r>
              <a:rPr lang="nl-NL" sz="1000" dirty="0"/>
              <a:t> Public Code</a:t>
            </a:r>
          </a:p>
          <a:p>
            <a:r>
              <a:rPr lang="nl-NL" sz="1000" dirty="0"/>
              <a:t>Erik Verhaar, functioneel beheerder team Omgevingsbeleid</a:t>
            </a:r>
          </a:p>
          <a:p>
            <a:r>
              <a:rPr lang="nl-NL" sz="1000" dirty="0"/>
              <a:t>Ivonne Jansen – Dings, strategisch adviseur technologie en samenleving</a:t>
            </a:r>
          </a:p>
          <a:p>
            <a:r>
              <a:rPr lang="nl-NL" sz="1000" dirty="0"/>
              <a:t>Jan </a:t>
            </a:r>
            <a:r>
              <a:rPr lang="nl-NL" sz="1000" dirty="0" err="1"/>
              <a:t>Ainali</a:t>
            </a:r>
            <a:r>
              <a:rPr lang="nl-NL" sz="1000" dirty="0"/>
              <a:t>, Foundation </a:t>
            </a:r>
            <a:r>
              <a:rPr lang="nl-NL" sz="1000" dirty="0" err="1"/>
              <a:t>for</a:t>
            </a:r>
            <a:r>
              <a:rPr lang="nl-NL" sz="1000" dirty="0"/>
              <a:t> Public Code</a:t>
            </a:r>
          </a:p>
          <a:p>
            <a:r>
              <a:rPr lang="nl-NL" sz="1000" dirty="0"/>
              <a:t>Johan Groenen, </a:t>
            </a:r>
            <a:r>
              <a:rPr lang="nl-NL" sz="1000" dirty="0" err="1"/>
              <a:t>Tiltshift</a:t>
            </a:r>
            <a:endParaRPr lang="nl-NL" sz="1000" dirty="0"/>
          </a:p>
          <a:p>
            <a:r>
              <a:rPr lang="nl-NL" sz="1000" dirty="0"/>
              <a:t>Maarten </a:t>
            </a:r>
            <a:r>
              <a:rPr lang="nl-NL" sz="1000" dirty="0" err="1"/>
              <a:t>Geraets</a:t>
            </a:r>
            <a:r>
              <a:rPr lang="nl-NL" sz="1000" dirty="0"/>
              <a:t>, </a:t>
            </a:r>
            <a:r>
              <a:rPr lang="nl-NL" sz="1000" dirty="0" err="1"/>
              <a:t>Tiltshift</a:t>
            </a:r>
            <a:endParaRPr lang="nl-NL" sz="1000" dirty="0"/>
          </a:p>
          <a:p>
            <a:r>
              <a:rPr lang="nl-NL" sz="1000" dirty="0"/>
              <a:t>Marten Terpstra, </a:t>
            </a:r>
            <a:r>
              <a:rPr lang="nl-NL" sz="1000" dirty="0" err="1"/>
              <a:t>productowner</a:t>
            </a:r>
            <a:r>
              <a:rPr lang="nl-NL" sz="1000" dirty="0"/>
              <a:t> projecten team Omgevingsbeleid</a:t>
            </a:r>
          </a:p>
        </p:txBody>
      </p:sp>
      <p:sp>
        <p:nvSpPr>
          <p:cNvPr id="2" name="Titel 1">
            <a:extLst>
              <a:ext uri="{FF2B5EF4-FFF2-40B4-BE49-F238E27FC236}">
                <a16:creationId xmlns:a16="http://schemas.microsoft.com/office/drawing/2014/main" id="{D7969EDB-EE8E-4BD6-B931-457A7A3E04AC}"/>
              </a:ext>
            </a:extLst>
          </p:cNvPr>
          <p:cNvSpPr>
            <a:spLocks noGrp="1"/>
          </p:cNvSpPr>
          <p:nvPr>
            <p:ph type="title"/>
          </p:nvPr>
        </p:nvSpPr>
        <p:spPr/>
        <p:txBody>
          <a:bodyPr/>
          <a:lstStyle/>
          <a:p>
            <a:r>
              <a:rPr lang="nl-NL" dirty="0"/>
              <a:t>Documenthistorie</a:t>
            </a:r>
          </a:p>
        </p:txBody>
      </p:sp>
      <p:sp>
        <p:nvSpPr>
          <p:cNvPr id="6" name="Tijdelijke aanduiding voor voettekst 5">
            <a:extLst>
              <a:ext uri="{FF2B5EF4-FFF2-40B4-BE49-F238E27FC236}">
                <a16:creationId xmlns:a16="http://schemas.microsoft.com/office/drawing/2014/main" id="{9BDFB2CB-794E-46D0-8883-C663335CBA56}"/>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7" name="Tijdelijke aanduiding voor dianummer 6">
            <a:extLst>
              <a:ext uri="{FF2B5EF4-FFF2-40B4-BE49-F238E27FC236}">
                <a16:creationId xmlns:a16="http://schemas.microsoft.com/office/drawing/2014/main" id="{E5A881DB-A52E-4701-B477-618B83370F91}"/>
              </a:ext>
            </a:extLst>
          </p:cNvPr>
          <p:cNvSpPr>
            <a:spLocks noGrp="1"/>
          </p:cNvSpPr>
          <p:nvPr>
            <p:ph type="sldNum" sz="quarter" idx="14"/>
          </p:nvPr>
        </p:nvSpPr>
        <p:spPr/>
        <p:txBody>
          <a:bodyPr/>
          <a:lstStyle/>
          <a:p>
            <a:pPr algn="r"/>
            <a:fld id="{52CD5E70-B072-4ABF-98D2-981DEBBF7F7D}" type="slidenum">
              <a:rPr lang="nl-NL" smtClean="0"/>
              <a:pPr algn="r"/>
              <a:t>1</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27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9</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a:t>Dit onderdeel beschrijft de registraties, applicatiefuncties en applicatiecomponenten.</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Informatiearchitectuur</a:t>
            </a:r>
          </a:p>
        </p:txBody>
      </p:sp>
      <p:pic>
        <p:nvPicPr>
          <p:cNvPr id="5" name="Afbeelding 4">
            <a:extLst>
              <a:ext uri="{FF2B5EF4-FFF2-40B4-BE49-F238E27FC236}">
                <a16:creationId xmlns:a16="http://schemas.microsoft.com/office/drawing/2014/main" id="{49DDE50A-4C02-4716-A3A8-EECC522B3C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7815" y="2282690"/>
            <a:ext cx="4287330" cy="2398565"/>
          </a:xfrm>
          <a:prstGeom prst="rect">
            <a:avLst/>
          </a:prstGeom>
        </p:spPr>
      </p:pic>
    </p:spTree>
    <p:extLst>
      <p:ext uri="{BB962C8B-B14F-4D97-AF65-F5344CB8AC3E}">
        <p14:creationId xmlns:p14="http://schemas.microsoft.com/office/powerpoint/2010/main" val="2798211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028E98-8EFA-422D-9D52-104888A41AB4}"/>
              </a:ext>
            </a:extLst>
          </p:cNvPr>
          <p:cNvSpPr>
            <a:spLocks noGrp="1"/>
          </p:cNvSpPr>
          <p:nvPr>
            <p:ph type="title"/>
          </p:nvPr>
        </p:nvSpPr>
        <p:spPr/>
        <p:txBody>
          <a:bodyPr/>
          <a:lstStyle/>
          <a:p>
            <a:r>
              <a:rPr lang="nl-NL" dirty="0"/>
              <a:t>Registraties en applicaties</a:t>
            </a:r>
          </a:p>
        </p:txBody>
      </p:sp>
      <p:sp>
        <p:nvSpPr>
          <p:cNvPr id="3" name="Tijdelijke aanduiding voor inhoud 2">
            <a:extLst>
              <a:ext uri="{FF2B5EF4-FFF2-40B4-BE49-F238E27FC236}">
                <a16:creationId xmlns:a16="http://schemas.microsoft.com/office/drawing/2014/main" id="{C20D9B0B-D5CA-4A31-8CDF-FC0F5316CF08}"/>
              </a:ext>
            </a:extLst>
          </p:cNvPr>
          <p:cNvSpPr>
            <a:spLocks noGrp="1"/>
          </p:cNvSpPr>
          <p:nvPr>
            <p:ph idx="1"/>
          </p:nvPr>
        </p:nvSpPr>
        <p:spPr>
          <a:xfrm>
            <a:off x="683880" y="1428750"/>
            <a:ext cx="7725108" cy="3139679"/>
          </a:xfrm>
        </p:spPr>
        <p:txBody>
          <a:bodyPr>
            <a:normAutofit fontScale="62500" lnSpcReduction="20000"/>
          </a:bodyPr>
          <a:lstStyle/>
          <a:p>
            <a:r>
              <a:rPr lang="nl-NL" dirty="0"/>
              <a:t>Hier is een fundamentele keuze gemaakt om catalogi over applicaties en diensten buiten beschouwing te laten. In het algoritmeregister wordt informatie over proces vastgelegd. Dat is immers nodig om transparant te maken welke rol het algoritme in het proces speelt. De datacatalogus is wel relevant omdat je daaruit wilt putten voor informatie over de in de besluitvorming gebruikte data. Een overheidsorgaan die niet over een datacatalogus beschikt moet de informatie over de gebruikte data in de algoritmecatalogus kunnen vastleggen.</a:t>
            </a:r>
          </a:p>
          <a:p>
            <a:r>
              <a:rPr lang="nl-NL" dirty="0"/>
              <a:t>Een tweede fundamentele keuze is om geen informatie te betrekken over specifieke besluiten. Dat zou vragen om informatie die in processystemen is opgenomen. Die processystemen zijn echter </a:t>
            </a:r>
            <a:r>
              <a:rPr lang="nl-NL" dirty="0" err="1"/>
              <a:t>organisatiespecifiek</a:t>
            </a:r>
            <a:r>
              <a:rPr lang="nl-NL" dirty="0"/>
              <a:t>. De scope van het algoritmeregister is de metadata over het algoritme, niet de data gebruikt door een algoritme in een specifieke besluitvorming!</a:t>
            </a:r>
          </a:p>
          <a:p>
            <a:r>
              <a:rPr lang="nl-NL" dirty="0"/>
              <a:t>Door bezwaar in te dienen of beroep in te stellen kan een belanghebbende wel die informatie opvragen. Daarvoor is een bestaand proces te gebruiken. Bezwaar / beroep dient te gaan over het (voorgenomen) </a:t>
            </a:r>
            <a:r>
              <a:rPr lang="nl-NL" u="sng" dirty="0"/>
              <a:t>besluit</a:t>
            </a:r>
            <a:r>
              <a:rPr lang="nl-NL" dirty="0"/>
              <a:t> (inhoudelijk of over de rol van het algoritme), niet over het algoritme zelf. </a:t>
            </a:r>
          </a:p>
          <a:p>
            <a:r>
              <a:rPr lang="nl-NL" dirty="0"/>
              <a:t>Keuze is om de mogelijkheid te bieden om de informatie over algoritmen op de corporate website van het overheidsorgaan te publiceren en ook de mogelijkheid te bieden om deze informatie van alle overheidsorganen op een landelijke omgeving te publiceren. Dat laatste kan wellicht in de toekomst content zijn die op overheid.nl via PLOOI of op een internationale site als onderdeel van </a:t>
            </a:r>
            <a:r>
              <a:rPr lang="nl-NL" dirty="0">
                <a:hlinkClick r:id="rId2"/>
              </a:rPr>
              <a:t>www.data.europa.eu</a:t>
            </a:r>
            <a:r>
              <a:rPr lang="nl-NL" dirty="0"/>
              <a:t> wordt gepubliceerd.</a:t>
            </a:r>
          </a:p>
        </p:txBody>
      </p:sp>
      <p:sp>
        <p:nvSpPr>
          <p:cNvPr id="4" name="Tijdelijke aanduiding voor voettekst 3">
            <a:extLst>
              <a:ext uri="{FF2B5EF4-FFF2-40B4-BE49-F238E27FC236}">
                <a16:creationId xmlns:a16="http://schemas.microsoft.com/office/drawing/2014/main" id="{204B5B0D-3A3C-4530-9DBD-37D080215C48}"/>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C2C819FF-5200-4033-B9C5-DE40E532D150}"/>
              </a:ext>
            </a:extLst>
          </p:cNvPr>
          <p:cNvSpPr>
            <a:spLocks noGrp="1"/>
          </p:cNvSpPr>
          <p:nvPr>
            <p:ph type="sldNum" sz="quarter" idx="12"/>
          </p:nvPr>
        </p:nvSpPr>
        <p:spPr/>
        <p:txBody>
          <a:bodyPr/>
          <a:lstStyle/>
          <a:p>
            <a:pPr algn="r"/>
            <a:fld id="{52CD5E70-B072-4ABF-98D2-981DEBBF7F7D}" type="slidenum">
              <a:rPr lang="nl-NL" smtClean="0"/>
              <a:pPr algn="r"/>
              <a:t>2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54624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t>Registraties en applicaties</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1</a:t>
            </a:fld>
            <a:endParaRPr lang="nl-NL"/>
          </a:p>
        </p:txBody>
      </p:sp>
      <p:pic>
        <p:nvPicPr>
          <p:cNvPr id="9" name="Afbeelding 8">
            <a:extLst>
              <a:ext uri="{FF2B5EF4-FFF2-40B4-BE49-F238E27FC236}">
                <a16:creationId xmlns:a16="http://schemas.microsoft.com/office/drawing/2014/main" id="{247AAABC-9435-4476-B35B-A4B73E7DBB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7022" y="1284027"/>
            <a:ext cx="6316276" cy="3148821"/>
          </a:xfrm>
          <a:prstGeom prst="rect">
            <a:avLst/>
          </a:prstGeom>
        </p:spPr>
      </p:pic>
    </p:spTree>
    <p:extLst>
      <p:ext uri="{BB962C8B-B14F-4D97-AF65-F5344CB8AC3E}">
        <p14:creationId xmlns:p14="http://schemas.microsoft.com/office/powerpoint/2010/main" val="3371048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1" y="1428750"/>
            <a:ext cx="4146496" cy="3139679"/>
          </a:xfrm>
        </p:spPr>
        <p:txBody>
          <a:bodyPr>
            <a:normAutofit fontScale="70000" lnSpcReduction="20000"/>
          </a:bodyPr>
          <a:lstStyle/>
          <a:p>
            <a:pPr>
              <a:spcAft>
                <a:spcPts val="600"/>
              </a:spcAft>
            </a:pPr>
            <a:r>
              <a:rPr lang="nl-NL" dirty="0"/>
              <a:t>Dit onderdeel beschrijft de softwarearchitectuur op basis van het C4-model. Dit model bestaat uit 4 abstractieniveaus, waarvan de eerste drie zijn gebruikt:</a:t>
            </a:r>
          </a:p>
          <a:p>
            <a:pPr marL="523875" lvl="1" indent="-342900">
              <a:spcAft>
                <a:spcPts val="600"/>
              </a:spcAft>
              <a:buFont typeface="+mj-lt"/>
              <a:buAutoNum type="arabicPeriod"/>
            </a:pPr>
            <a:r>
              <a:rPr lang="nl-NL" b="1" dirty="0"/>
              <a:t>Systeemcontext diagrammen</a:t>
            </a:r>
            <a:r>
              <a:rPr lang="nl-NL" dirty="0"/>
              <a:t>: laat het informatiesysteem (algoritme catalogus) in scope zien in relatie met gebruikers en andere informatiesystemen</a:t>
            </a:r>
          </a:p>
          <a:p>
            <a:pPr marL="523875" lvl="1" indent="-342900">
              <a:spcAft>
                <a:spcPts val="600"/>
              </a:spcAft>
              <a:buFont typeface="+mj-lt"/>
              <a:buAutoNum type="arabicPeriod"/>
            </a:pPr>
            <a:r>
              <a:rPr lang="nl-NL" b="1" dirty="0"/>
              <a:t>Container diagrammen</a:t>
            </a:r>
            <a:r>
              <a:rPr lang="nl-NL" dirty="0"/>
              <a:t>: decompositie van het informatiesysteem in containers. Een container representeert een applicatie of een data opslag.</a:t>
            </a:r>
          </a:p>
          <a:p>
            <a:pPr marL="523875" lvl="1" indent="-342900">
              <a:spcAft>
                <a:spcPts val="600"/>
              </a:spcAft>
              <a:buFont typeface="+mj-lt"/>
              <a:buAutoNum type="arabicPeriod"/>
            </a:pPr>
            <a:r>
              <a:rPr lang="nl-NL" b="1" dirty="0"/>
              <a:t>Component diagrammen</a:t>
            </a:r>
            <a:r>
              <a:rPr lang="nl-NL" dirty="0"/>
              <a:t>: decompositie van een container in componenten.</a:t>
            </a:r>
          </a:p>
          <a:p>
            <a:pPr marL="523875" lvl="1" indent="-342900">
              <a:spcAft>
                <a:spcPts val="600"/>
              </a:spcAft>
              <a:buFont typeface="+mj-lt"/>
              <a:buAutoNum type="arabicPeriod"/>
            </a:pPr>
            <a:r>
              <a:rPr lang="nl-NL" b="1" dirty="0"/>
              <a:t>Code diagrammen</a:t>
            </a:r>
            <a:r>
              <a:rPr lang="nl-NL" dirty="0"/>
              <a:t>: ontwerp van de softwarecode.</a:t>
            </a:r>
          </a:p>
          <a:p>
            <a:pPr lvl="1">
              <a:spcAft>
                <a:spcPts val="600"/>
              </a:spcAft>
            </a:pP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Softwarearchitectuur</a:t>
            </a:r>
          </a:p>
        </p:txBody>
      </p:sp>
      <p:pic>
        <p:nvPicPr>
          <p:cNvPr id="6" name="Afbeelding 5">
            <a:extLst>
              <a:ext uri="{FF2B5EF4-FFF2-40B4-BE49-F238E27FC236}">
                <a16:creationId xmlns:a16="http://schemas.microsoft.com/office/drawing/2014/main" id="{1E7B17CF-47BC-471C-82D2-34485A8DF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7997" y="1834709"/>
            <a:ext cx="3790885" cy="2509351"/>
          </a:xfrm>
          <a:prstGeom prst="rect">
            <a:avLst/>
          </a:prstGeom>
        </p:spPr>
      </p:pic>
    </p:spTree>
    <p:extLst>
      <p:ext uri="{BB962C8B-B14F-4D97-AF65-F5344CB8AC3E}">
        <p14:creationId xmlns:p14="http://schemas.microsoft.com/office/powerpoint/2010/main" val="37263997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extdiagram Algoritme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3</a:t>
            </a:fld>
            <a:endParaRPr lang="nl-NL">
              <a:latin typeface="Calibri" panose="020F0502020204030204" pitchFamily="34" charset="0"/>
              <a:cs typeface="Calibri" panose="020F0502020204030204" pitchFamily="34" charset="0"/>
            </a:endParaRPr>
          </a:p>
        </p:txBody>
      </p:sp>
      <p:pic>
        <p:nvPicPr>
          <p:cNvPr id="9" name="Afbeelding 8">
            <a:extLst>
              <a:ext uri="{FF2B5EF4-FFF2-40B4-BE49-F238E27FC236}">
                <a16:creationId xmlns:a16="http://schemas.microsoft.com/office/drawing/2014/main" id="{F2B0A92C-0DA8-4662-A8BF-A8B9F4060F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781" y="670116"/>
            <a:ext cx="7919665" cy="4063249"/>
          </a:xfrm>
          <a:prstGeom prst="rect">
            <a:avLst/>
          </a:prstGeom>
        </p:spPr>
      </p:pic>
    </p:spTree>
    <p:extLst>
      <p:ext uri="{BB962C8B-B14F-4D97-AF65-F5344CB8AC3E}">
        <p14:creationId xmlns:p14="http://schemas.microsoft.com/office/powerpoint/2010/main" val="2812970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ainerdiagram Algoritme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4</a:t>
            </a:fld>
            <a:endParaRPr lang="nl-NL">
              <a:latin typeface="Calibri" panose="020F0502020204030204" pitchFamily="34" charset="0"/>
              <a:cs typeface="Calibri" panose="020F0502020204030204" pitchFamily="34" charset="0"/>
            </a:endParaRPr>
          </a:p>
        </p:txBody>
      </p:sp>
      <p:pic>
        <p:nvPicPr>
          <p:cNvPr id="9" name="Afbeelding 8">
            <a:extLst>
              <a:ext uri="{FF2B5EF4-FFF2-40B4-BE49-F238E27FC236}">
                <a16:creationId xmlns:a16="http://schemas.microsoft.com/office/drawing/2014/main" id="{789ECF67-856E-48AB-BD8E-AA69049D68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65" y="701073"/>
            <a:ext cx="6484682" cy="3917032"/>
          </a:xfrm>
          <a:prstGeom prst="rect">
            <a:avLst/>
          </a:prstGeom>
        </p:spPr>
      </p:pic>
    </p:spTree>
    <p:extLst>
      <p:ext uri="{BB962C8B-B14F-4D97-AF65-F5344CB8AC3E}">
        <p14:creationId xmlns:p14="http://schemas.microsoft.com/office/powerpoint/2010/main" val="649030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18984"/>
            <a:ext cx="7837488" cy="492443"/>
          </a:xfrm>
        </p:spPr>
        <p:txBody>
          <a:bodyPr/>
          <a:lstStyle/>
          <a:p>
            <a:r>
              <a:rPr lang="nl-NL" dirty="0"/>
              <a:t>Componentdiagram Backend API applicatie</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5</a:t>
            </a:fld>
            <a:endParaRPr lang="nl-NL">
              <a:latin typeface="Calibri" panose="020F0502020204030204" pitchFamily="34" charset="0"/>
              <a:cs typeface="Calibri" panose="020F0502020204030204" pitchFamily="34" charset="0"/>
            </a:endParaRPr>
          </a:p>
        </p:txBody>
      </p:sp>
      <p:pic>
        <p:nvPicPr>
          <p:cNvPr id="6" name="Afbeelding 5">
            <a:extLst>
              <a:ext uri="{FF2B5EF4-FFF2-40B4-BE49-F238E27FC236}">
                <a16:creationId xmlns:a16="http://schemas.microsoft.com/office/drawing/2014/main" id="{57879E58-3086-4D39-AE01-633CA8328A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6545" y="613896"/>
            <a:ext cx="7367398" cy="4077826"/>
          </a:xfrm>
          <a:prstGeom prst="rect">
            <a:avLst/>
          </a:prstGeom>
        </p:spPr>
      </p:pic>
      <p:sp>
        <p:nvSpPr>
          <p:cNvPr id="8" name="Tijdelijke aanduiding voor inhoud 7">
            <a:extLst>
              <a:ext uri="{FF2B5EF4-FFF2-40B4-BE49-F238E27FC236}">
                <a16:creationId xmlns:a16="http://schemas.microsoft.com/office/drawing/2014/main" id="{5D62039C-4257-4387-B42E-DD7B3BA42371}"/>
              </a:ext>
            </a:extLst>
          </p:cNvPr>
          <p:cNvSpPr>
            <a:spLocks noGrp="1"/>
          </p:cNvSpPr>
          <p:nvPr>
            <p:ph idx="1"/>
          </p:nvPr>
        </p:nvSpPr>
        <p:spPr>
          <a:xfrm>
            <a:off x="7107731" y="2950669"/>
            <a:ext cx="1867499" cy="1741053"/>
          </a:xfrm>
        </p:spPr>
        <p:txBody>
          <a:bodyPr>
            <a:normAutofit fontScale="70000" lnSpcReduction="20000"/>
          </a:bodyPr>
          <a:lstStyle/>
          <a:p>
            <a:r>
              <a:rPr lang="nl-NL" dirty="0"/>
              <a:t>De Backend API applicatie beschikt voor de landelijke voorziening over een API waarmee de landelijke voorziening de minimale set van metadata kan </a:t>
            </a:r>
            <a:r>
              <a:rPr lang="nl-NL" dirty="0" err="1"/>
              <a:t>harvesten</a:t>
            </a:r>
            <a:r>
              <a:rPr lang="nl-NL" dirty="0"/>
              <a:t>.</a:t>
            </a:r>
          </a:p>
        </p:txBody>
      </p:sp>
    </p:spTree>
    <p:extLst>
      <p:ext uri="{BB962C8B-B14F-4D97-AF65-F5344CB8AC3E}">
        <p14:creationId xmlns:p14="http://schemas.microsoft.com/office/powerpoint/2010/main" val="142520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6</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428750"/>
            <a:ext cx="7765677" cy="492443"/>
          </a:xfrm>
        </p:spPr>
        <p:txBody>
          <a:bodyPr/>
          <a:lstStyle/>
          <a:p>
            <a:pPr marL="0" indent="0">
              <a:buNone/>
            </a:pPr>
            <a:r>
              <a:rPr lang="nl-NL" dirty="0"/>
              <a:t>De volgende softwarestack komt voort uit de software-architectuur:</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2832481529"/>
              </p:ext>
            </p:extLst>
          </p:nvPr>
        </p:nvGraphicFramePr>
        <p:xfrm>
          <a:off x="653143" y="1888808"/>
          <a:ext cx="7684031" cy="2565400"/>
        </p:xfrm>
        <a:graphic>
          <a:graphicData uri="http://schemas.openxmlformats.org/drawingml/2006/table">
            <a:tbl>
              <a:tblPr firstRow="1" bandRow="1">
                <a:tableStyleId>{3B4B98B0-60AC-42C2-AFA5-B58CD77FA1E5}</a:tableStyleId>
              </a:tblPr>
              <a:tblGrid>
                <a:gridCol w="1145864">
                  <a:extLst>
                    <a:ext uri="{9D8B030D-6E8A-4147-A177-3AD203B41FA5}">
                      <a16:colId xmlns:a16="http://schemas.microsoft.com/office/drawing/2014/main" val="1819692443"/>
                    </a:ext>
                  </a:extLst>
                </a:gridCol>
                <a:gridCol w="2058378">
                  <a:extLst>
                    <a:ext uri="{9D8B030D-6E8A-4147-A177-3AD203B41FA5}">
                      <a16:colId xmlns:a16="http://schemas.microsoft.com/office/drawing/2014/main" val="773264213"/>
                    </a:ext>
                  </a:extLst>
                </a:gridCol>
                <a:gridCol w="2113109">
                  <a:extLst>
                    <a:ext uri="{9D8B030D-6E8A-4147-A177-3AD203B41FA5}">
                      <a16:colId xmlns:a16="http://schemas.microsoft.com/office/drawing/2014/main" val="3108451495"/>
                    </a:ext>
                  </a:extLst>
                </a:gridCol>
                <a:gridCol w="2366680">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Basis-IT-infrastructuur</a:t>
                      </a:r>
                    </a:p>
                  </a:txBody>
                  <a:tcPr/>
                </a:tc>
                <a:tc>
                  <a:txBody>
                    <a:bodyPr/>
                    <a:lstStyle/>
                    <a:p>
                      <a:r>
                        <a:rPr lang="nl-NL" sz="1000" dirty="0"/>
                        <a:t>Server besturingssysteem</a:t>
                      </a:r>
                    </a:p>
                  </a:txBody>
                  <a:tcPr/>
                </a:tc>
                <a:tc>
                  <a:txBody>
                    <a:bodyPr/>
                    <a:lstStyle/>
                    <a:p>
                      <a:endParaRPr lang="nl-NL" sz="1000" dirty="0"/>
                    </a:p>
                  </a:txBody>
                  <a:tcPr/>
                </a:tc>
                <a:tc>
                  <a:txBody>
                    <a:bodyPr/>
                    <a:lstStyle/>
                    <a:p>
                      <a:r>
                        <a:rPr lang="nl-NL" sz="1000" dirty="0"/>
                        <a:t>Linux</a:t>
                      </a:r>
                    </a:p>
                  </a:txBody>
                  <a:tcPr/>
                </a:tc>
                <a:extLst>
                  <a:ext uri="{0D108BD9-81ED-4DB2-BD59-A6C34878D82A}">
                    <a16:rowId xmlns:a16="http://schemas.microsoft.com/office/drawing/2014/main" val="1381211693"/>
                  </a:ext>
                </a:extLst>
              </a:tr>
              <a:tr h="370840">
                <a:tc>
                  <a:txBody>
                    <a:bodyPr/>
                    <a:lstStyle/>
                    <a:p>
                      <a:r>
                        <a:rPr lang="nl-NL" sz="1000" dirty="0"/>
                        <a:t>Basis-IT-infrastructuur</a:t>
                      </a:r>
                    </a:p>
                  </a:txBody>
                  <a:tcPr/>
                </a:tc>
                <a:tc>
                  <a:txBody>
                    <a:bodyPr/>
                    <a:lstStyle/>
                    <a:p>
                      <a:r>
                        <a:rPr lang="nl-NL" sz="1000" dirty="0"/>
                        <a:t>SQL-databasebeheersysteem</a:t>
                      </a:r>
                    </a:p>
                  </a:txBody>
                  <a:tcPr/>
                </a:tc>
                <a:tc>
                  <a:txBody>
                    <a:bodyPr/>
                    <a:lstStyle/>
                    <a:p>
                      <a:endParaRPr lang="nl-NL" sz="1000" dirty="0"/>
                    </a:p>
                  </a:txBody>
                  <a:tcPr/>
                </a:tc>
                <a:tc>
                  <a:txBody>
                    <a:bodyPr/>
                    <a:lstStyle/>
                    <a:p>
                      <a:r>
                        <a:rPr lang="nl-NL" sz="1000" dirty="0" err="1"/>
                        <a:t>PostgreSQL</a:t>
                      </a:r>
                      <a:endParaRPr lang="nl-NL" sz="1000" dirty="0"/>
                    </a:p>
                  </a:txBody>
                  <a:tcPr/>
                </a:tc>
                <a:extLst>
                  <a:ext uri="{0D108BD9-81ED-4DB2-BD59-A6C34878D82A}">
                    <a16:rowId xmlns:a16="http://schemas.microsoft.com/office/drawing/2014/main" val="1172344405"/>
                  </a:ext>
                </a:extLst>
              </a:tr>
              <a:tr h="370840">
                <a:tc>
                  <a:txBody>
                    <a:bodyPr/>
                    <a:lstStyle/>
                    <a:p>
                      <a:r>
                        <a:rPr lang="nl-NL" sz="1000" dirty="0"/>
                        <a:t>Basis-IT-infrastructuur</a:t>
                      </a:r>
                    </a:p>
                  </a:txBody>
                  <a:tcPr/>
                </a:tc>
                <a:tc>
                  <a:txBody>
                    <a:bodyPr/>
                    <a:lstStyle/>
                    <a:p>
                      <a:r>
                        <a:rPr lang="nl-NL" sz="1000" dirty="0"/>
                        <a:t>Document-georiënteerde database voor het maken van een zoekmachine, is meer Java georiënteerd</a:t>
                      </a:r>
                    </a:p>
                  </a:txBody>
                  <a:tcPr/>
                </a:tc>
                <a:tc>
                  <a:txBody>
                    <a:bodyPr/>
                    <a:lstStyle/>
                    <a:p>
                      <a:endParaRPr lang="nl-NL" sz="1000" dirty="0"/>
                    </a:p>
                  </a:txBody>
                  <a:tcPr/>
                </a:tc>
                <a:tc>
                  <a:txBody>
                    <a:bodyPr/>
                    <a:lstStyle/>
                    <a:p>
                      <a:r>
                        <a:rPr lang="nl-NL" sz="1000" dirty="0" err="1"/>
                        <a:t>ElasticSearch</a:t>
                      </a:r>
                      <a:endParaRPr lang="nl-NL" sz="1000" dirty="0"/>
                    </a:p>
                  </a:txBody>
                  <a:tcPr/>
                </a:tc>
                <a:extLst>
                  <a:ext uri="{0D108BD9-81ED-4DB2-BD59-A6C34878D82A}">
                    <a16:rowId xmlns:a16="http://schemas.microsoft.com/office/drawing/2014/main" val="1551545615"/>
                  </a:ext>
                </a:extLst>
              </a:tr>
              <a:tr h="373371">
                <a:tc>
                  <a:txBody>
                    <a:bodyPr/>
                    <a:lstStyle/>
                    <a:p>
                      <a:r>
                        <a:rPr lang="nl-NL" sz="1000" dirty="0"/>
                        <a:t>Basis-IT-infrastructuur</a:t>
                      </a:r>
                    </a:p>
                  </a:txBody>
                  <a:tcPr/>
                </a:tc>
                <a:tc>
                  <a:txBody>
                    <a:bodyPr/>
                    <a:lstStyle/>
                    <a:p>
                      <a:r>
                        <a:rPr lang="nl-NL" sz="1000" dirty="0"/>
                        <a:t>HTTP server voor communicatie tussen </a:t>
                      </a:r>
                      <a:r>
                        <a:rPr lang="nl-NL" sz="1000" dirty="0" err="1"/>
                        <a:t>JavaServerPages</a:t>
                      </a:r>
                      <a:r>
                        <a:rPr lang="nl-NL" sz="1000" dirty="0"/>
                        <a:t> en webserver, is meer Java georiënteerd</a:t>
                      </a:r>
                    </a:p>
                  </a:txBody>
                  <a:tcPr/>
                </a:tc>
                <a:tc>
                  <a:txBody>
                    <a:bodyPr/>
                    <a:lstStyle/>
                    <a:p>
                      <a:endParaRPr lang="nl-NL" sz="1000" dirty="0"/>
                    </a:p>
                  </a:txBody>
                  <a:tcPr/>
                </a:tc>
                <a:tc>
                  <a:txBody>
                    <a:bodyPr/>
                    <a:lstStyle/>
                    <a:p>
                      <a:r>
                        <a:rPr lang="nl-NL" sz="1000" dirty="0"/>
                        <a:t>Apache </a:t>
                      </a:r>
                      <a:r>
                        <a:rPr lang="nl-NL" sz="1000" dirty="0" err="1"/>
                        <a:t>Tomcat</a:t>
                      </a:r>
                      <a:r>
                        <a:rPr lang="nl-NL" sz="1000" dirty="0"/>
                        <a:t> versie 8.5</a:t>
                      </a:r>
                    </a:p>
                  </a:txBody>
                  <a:tcPr/>
                </a:tc>
                <a:extLst>
                  <a:ext uri="{0D108BD9-81ED-4DB2-BD59-A6C34878D82A}">
                    <a16:rowId xmlns:a16="http://schemas.microsoft.com/office/drawing/2014/main" val="2594761650"/>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1/3</a:t>
            </a:r>
          </a:p>
        </p:txBody>
      </p:sp>
    </p:spTree>
    <p:extLst>
      <p:ext uri="{BB962C8B-B14F-4D97-AF65-F5344CB8AC3E}">
        <p14:creationId xmlns:p14="http://schemas.microsoft.com/office/powerpoint/2010/main" val="2309313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7</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nl-NL" dirty="0"/>
              <a:t>De volgende softwarestack komt voort uit de software-architectuur:</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1428802377"/>
              </p:ext>
            </p:extLst>
          </p:nvPr>
        </p:nvGraphicFramePr>
        <p:xfrm>
          <a:off x="645459" y="1679853"/>
          <a:ext cx="7691716" cy="3027680"/>
        </p:xfrm>
        <a:graphic>
          <a:graphicData uri="http://schemas.openxmlformats.org/drawingml/2006/table">
            <a:tbl>
              <a:tblPr firstRow="1" bandRow="1">
                <a:tableStyleId>{3B4B98B0-60AC-42C2-AFA5-B58CD77FA1E5}</a:tableStyleId>
              </a:tblPr>
              <a:tblGrid>
                <a:gridCol w="1529123">
                  <a:extLst>
                    <a:ext uri="{9D8B030D-6E8A-4147-A177-3AD203B41FA5}">
                      <a16:colId xmlns:a16="http://schemas.microsoft.com/office/drawing/2014/main" val="1819692443"/>
                    </a:ext>
                  </a:extLst>
                </a:gridCol>
                <a:gridCol w="1867220">
                  <a:extLst>
                    <a:ext uri="{9D8B030D-6E8A-4147-A177-3AD203B41FA5}">
                      <a16:colId xmlns:a16="http://schemas.microsoft.com/office/drawing/2014/main" val="773264213"/>
                    </a:ext>
                  </a:extLst>
                </a:gridCol>
                <a:gridCol w="1913324">
                  <a:extLst>
                    <a:ext uri="{9D8B030D-6E8A-4147-A177-3AD203B41FA5}">
                      <a16:colId xmlns:a16="http://schemas.microsoft.com/office/drawing/2014/main" val="1305587374"/>
                    </a:ext>
                  </a:extLst>
                </a:gridCol>
                <a:gridCol w="2382049">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r>
                        <a:rPr lang="nl-NL" sz="1000" dirty="0"/>
                        <a:t>Applicatieontwikkeling</a:t>
                      </a:r>
                    </a:p>
                  </a:txBody>
                  <a:tcPr/>
                </a:tc>
                <a:tc>
                  <a:txBody>
                    <a:bodyPr/>
                    <a:lstStyle/>
                    <a:p>
                      <a:r>
                        <a:rPr lang="nl-NL" sz="1000" dirty="0"/>
                        <a:t>Programmeertalen voor </a:t>
                      </a:r>
                      <a:r>
                        <a:rPr lang="nl-NL" sz="1000" dirty="0" err="1"/>
                        <a:t>frontend</a:t>
                      </a:r>
                      <a:r>
                        <a:rPr lang="nl-NL" sz="1000" dirty="0"/>
                        <a:t> van een webapplicatie in de browser</a:t>
                      </a:r>
                    </a:p>
                  </a:txBody>
                  <a:tcPr/>
                </a:tc>
                <a:tc>
                  <a:txBody>
                    <a:bodyPr/>
                    <a:lstStyle/>
                    <a:p>
                      <a:endParaRPr lang="nl-NL" sz="1000" dirty="0"/>
                    </a:p>
                  </a:txBody>
                  <a:tcPr/>
                </a:tc>
                <a:tc>
                  <a:txBody>
                    <a:bodyPr/>
                    <a:lstStyle/>
                    <a:p>
                      <a:r>
                        <a:rPr lang="nl-NL" sz="1000" dirty="0"/>
                        <a:t>HTML, CSS en </a:t>
                      </a:r>
                      <a:r>
                        <a:rPr lang="nl-NL" sz="1000" dirty="0" err="1"/>
                        <a:t>JavaScript</a:t>
                      </a:r>
                      <a:endParaRPr lang="nl-NL" sz="1000" dirty="0"/>
                    </a:p>
                  </a:txBody>
                  <a:tcPr/>
                </a:tc>
                <a:extLst>
                  <a:ext uri="{0D108BD9-81ED-4DB2-BD59-A6C34878D82A}">
                    <a16:rowId xmlns:a16="http://schemas.microsoft.com/office/drawing/2014/main" val="3511719735"/>
                  </a:ext>
                </a:extLst>
              </a:tr>
              <a:tr h="370840">
                <a:tc>
                  <a:txBody>
                    <a:bodyPr/>
                    <a:lstStyle/>
                    <a:p>
                      <a:r>
                        <a:rPr lang="nl-NL" sz="1000" dirty="0"/>
                        <a:t>Applicatieontwikkeling</a:t>
                      </a:r>
                    </a:p>
                  </a:txBody>
                  <a:tcPr/>
                </a:tc>
                <a:tc>
                  <a:txBody>
                    <a:bodyPr/>
                    <a:lstStyle/>
                    <a:p>
                      <a:r>
                        <a:rPr lang="nl-NL" sz="1000" dirty="0"/>
                        <a:t>Programmeertaal, algemeen, voor de backend</a:t>
                      </a:r>
                    </a:p>
                  </a:txBody>
                  <a:tcPr/>
                </a:tc>
                <a:tc>
                  <a:txBody>
                    <a:bodyPr/>
                    <a:lstStyle/>
                    <a:p>
                      <a:endParaRPr lang="nl-NL" sz="1000" dirty="0"/>
                    </a:p>
                  </a:txBody>
                  <a:tcPr/>
                </a:tc>
                <a:tc>
                  <a:txBody>
                    <a:bodyPr/>
                    <a:lstStyle/>
                    <a:p>
                      <a:r>
                        <a:rPr lang="nl-NL" sz="1000" dirty="0"/>
                        <a:t>Python 3.6.x</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Library voor object </a:t>
                      </a:r>
                      <a:r>
                        <a:rPr lang="nl-NL" sz="1000" dirty="0" err="1"/>
                        <a:t>serialisatie</a:t>
                      </a:r>
                      <a:r>
                        <a:rPr lang="nl-NL" sz="1000" dirty="0"/>
                        <a:t> en </a:t>
                      </a:r>
                      <a:r>
                        <a:rPr lang="nl-NL" sz="1000" dirty="0" err="1"/>
                        <a:t>deserialisatie</a:t>
                      </a:r>
                      <a:r>
                        <a:rPr lang="nl-NL" sz="1000" dirty="0"/>
                        <a:t> i.r.t. Python</a:t>
                      </a:r>
                    </a:p>
                  </a:txBody>
                  <a:tcPr/>
                </a:tc>
                <a:tc>
                  <a:txBody>
                    <a:bodyPr/>
                    <a:lstStyle/>
                    <a:p>
                      <a:endParaRPr lang="nl-NL" sz="1000" dirty="0"/>
                    </a:p>
                  </a:txBody>
                  <a:tcPr/>
                </a:tc>
                <a:tc>
                  <a:txBody>
                    <a:bodyPr/>
                    <a:lstStyle/>
                    <a:p>
                      <a:r>
                        <a:rPr lang="nl-NL" sz="1000" dirty="0"/>
                        <a:t>Marshmallow 3.0.0b20</a:t>
                      </a:r>
                    </a:p>
                  </a:txBody>
                  <a:tcPr/>
                </a:tc>
                <a:extLst>
                  <a:ext uri="{0D108BD9-81ED-4DB2-BD59-A6C34878D82A}">
                    <a16:rowId xmlns:a16="http://schemas.microsoft.com/office/drawing/2014/main" val="1381211693"/>
                  </a:ext>
                </a:extLst>
              </a:tr>
              <a:tr h="370840">
                <a:tc>
                  <a:txBody>
                    <a:bodyPr/>
                    <a:lstStyle/>
                    <a:p>
                      <a:r>
                        <a:rPr lang="nl-NL" sz="1000" dirty="0"/>
                        <a:t>Applicatieontwikkeling</a:t>
                      </a:r>
                    </a:p>
                  </a:txBody>
                  <a:tcPr/>
                </a:tc>
                <a:tc>
                  <a:txBody>
                    <a:bodyPr/>
                    <a:lstStyle/>
                    <a:p>
                      <a:r>
                        <a:rPr lang="nl-NL" sz="1000" dirty="0" err="1"/>
                        <a:t>Microwebframework</a:t>
                      </a:r>
                      <a:endParaRPr lang="nl-NL" sz="1000" dirty="0"/>
                    </a:p>
                  </a:txBody>
                  <a:tcPr/>
                </a:tc>
                <a:tc>
                  <a:txBody>
                    <a:bodyPr/>
                    <a:lstStyle/>
                    <a:p>
                      <a:endParaRPr lang="nl-NL" sz="1000" dirty="0"/>
                    </a:p>
                  </a:txBody>
                  <a:tcPr/>
                </a:tc>
                <a:tc>
                  <a:txBody>
                    <a:bodyPr/>
                    <a:lstStyle/>
                    <a:p>
                      <a:r>
                        <a:rPr lang="nl-NL" sz="1000" dirty="0" err="1"/>
                        <a:t>Flask</a:t>
                      </a:r>
                      <a:r>
                        <a:rPr lang="nl-NL" sz="1000" dirty="0"/>
                        <a:t> 1.0.2</a:t>
                      </a:r>
                    </a:p>
                  </a:txBody>
                  <a:tcPr/>
                </a:tc>
                <a:extLst>
                  <a:ext uri="{0D108BD9-81ED-4DB2-BD59-A6C34878D82A}">
                    <a16:rowId xmlns:a16="http://schemas.microsoft.com/office/drawing/2014/main" val="12338115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Extensie op </a:t>
                      </a:r>
                      <a:r>
                        <a:rPr lang="nl-NL" sz="1000" dirty="0" err="1"/>
                        <a:t>Flask</a:t>
                      </a:r>
                      <a:r>
                        <a:rPr lang="nl-NL" sz="1000" dirty="0"/>
                        <a:t> voor het generatie / authenticatie met JSON Web Token (JWT)</a:t>
                      </a:r>
                    </a:p>
                  </a:txBody>
                  <a:tcPr/>
                </a:tc>
                <a:tc>
                  <a:txBody>
                    <a:bodyPr/>
                    <a:lstStyle/>
                    <a:p>
                      <a:endParaRPr lang="nl-NL" sz="1000" dirty="0"/>
                    </a:p>
                  </a:txBody>
                  <a:tcPr/>
                </a:tc>
                <a:tc>
                  <a:txBody>
                    <a:bodyPr/>
                    <a:lstStyle/>
                    <a:p>
                      <a:pPr marL="0" algn="l" defTabSz="914400" rtl="0" eaLnBrk="1" fontAlgn="t" latinLnBrk="0" hangingPunct="1"/>
                      <a:r>
                        <a:rPr lang="nl-NL" sz="1000" kern="1200" dirty="0" err="1">
                          <a:solidFill>
                            <a:schemeClr val="tx1"/>
                          </a:solidFill>
                          <a:latin typeface="+mn-lt"/>
                          <a:ea typeface="+mn-ea"/>
                          <a:cs typeface="+mn-cs"/>
                        </a:rPr>
                        <a:t>Flask</a:t>
                      </a:r>
                      <a:r>
                        <a:rPr lang="nl-NL" sz="1000" kern="1200" dirty="0">
                          <a:solidFill>
                            <a:schemeClr val="tx1"/>
                          </a:solidFill>
                          <a:latin typeface="+mn-lt"/>
                          <a:ea typeface="+mn-ea"/>
                          <a:cs typeface="+mn-cs"/>
                        </a:rPr>
                        <a:t> JWT </a:t>
                      </a:r>
                      <a:r>
                        <a:rPr lang="nl-NL" sz="1000" kern="1200" dirty="0" err="1">
                          <a:solidFill>
                            <a:schemeClr val="tx1"/>
                          </a:solidFill>
                          <a:latin typeface="+mn-lt"/>
                          <a:ea typeface="+mn-ea"/>
                          <a:cs typeface="+mn-cs"/>
                        </a:rPr>
                        <a:t>extended</a:t>
                      </a:r>
                      <a:r>
                        <a:rPr lang="nl-NL" sz="1000" kern="1200" dirty="0">
                          <a:solidFill>
                            <a:schemeClr val="tx1"/>
                          </a:solidFill>
                          <a:latin typeface="+mn-lt"/>
                          <a:ea typeface="+mn-ea"/>
                          <a:cs typeface="+mn-cs"/>
                        </a:rPr>
                        <a:t> 3.13.1</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Extensie op </a:t>
                      </a:r>
                      <a:r>
                        <a:rPr lang="nl-NL" sz="1000" dirty="0" err="1"/>
                        <a:t>Flask</a:t>
                      </a:r>
                      <a:r>
                        <a:rPr lang="nl-NL" sz="1000" dirty="0"/>
                        <a:t> voor interactie met SQL databases</a:t>
                      </a:r>
                    </a:p>
                  </a:txBody>
                  <a:tcPr/>
                </a:tc>
                <a:tc>
                  <a:txBody>
                    <a:bodyPr/>
                    <a:lstStyle/>
                    <a:p>
                      <a:endParaRPr lang="nl-NL" sz="1000" dirty="0"/>
                    </a:p>
                  </a:txBody>
                  <a:tcPr/>
                </a:tc>
                <a:tc>
                  <a:txBody>
                    <a:bodyPr/>
                    <a:lstStyle/>
                    <a:p>
                      <a:r>
                        <a:rPr lang="nl-NL" sz="1000" dirty="0"/>
                        <a:t>Records 0.5.2 &amp; </a:t>
                      </a:r>
                      <a:r>
                        <a:rPr lang="nl-NL" sz="1000" dirty="0" err="1"/>
                        <a:t>SqlAlchemy</a:t>
                      </a:r>
                      <a:r>
                        <a:rPr lang="nl-NL" sz="1000" dirty="0"/>
                        <a:t> 1.3.0b1</a:t>
                      </a:r>
                    </a:p>
                  </a:txBody>
                  <a:tcPr/>
                </a:tc>
                <a:extLst>
                  <a:ext uri="{0D108BD9-81ED-4DB2-BD59-A6C34878D82A}">
                    <a16:rowId xmlns:a16="http://schemas.microsoft.com/office/drawing/2014/main" val="2028859653"/>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2/3</a:t>
            </a:r>
          </a:p>
        </p:txBody>
      </p:sp>
    </p:spTree>
    <p:extLst>
      <p:ext uri="{BB962C8B-B14F-4D97-AF65-F5344CB8AC3E}">
        <p14:creationId xmlns:p14="http://schemas.microsoft.com/office/powerpoint/2010/main" val="1791770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8</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nl-NL" dirty="0"/>
              <a:t>De volgende softwarestack komt voort uit de software-architectuur:</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2431081727"/>
              </p:ext>
            </p:extLst>
          </p:nvPr>
        </p:nvGraphicFramePr>
        <p:xfrm>
          <a:off x="645459" y="1679853"/>
          <a:ext cx="7691716" cy="2352040"/>
        </p:xfrm>
        <a:graphic>
          <a:graphicData uri="http://schemas.openxmlformats.org/drawingml/2006/table">
            <a:tbl>
              <a:tblPr firstRow="1" bandRow="1">
                <a:tableStyleId>{3B4B98B0-60AC-42C2-AFA5-B58CD77FA1E5}</a:tableStyleId>
              </a:tblPr>
              <a:tblGrid>
                <a:gridCol w="929768">
                  <a:extLst>
                    <a:ext uri="{9D8B030D-6E8A-4147-A177-3AD203B41FA5}">
                      <a16:colId xmlns:a16="http://schemas.microsoft.com/office/drawing/2014/main" val="1819692443"/>
                    </a:ext>
                  </a:extLst>
                </a:gridCol>
                <a:gridCol w="2120793">
                  <a:extLst>
                    <a:ext uri="{9D8B030D-6E8A-4147-A177-3AD203B41FA5}">
                      <a16:colId xmlns:a16="http://schemas.microsoft.com/office/drawing/2014/main" val="773264213"/>
                    </a:ext>
                  </a:extLst>
                </a:gridCol>
                <a:gridCol w="2028585">
                  <a:extLst>
                    <a:ext uri="{9D8B030D-6E8A-4147-A177-3AD203B41FA5}">
                      <a16:colId xmlns:a16="http://schemas.microsoft.com/office/drawing/2014/main" val="3843369174"/>
                    </a:ext>
                  </a:extLst>
                </a:gridCol>
                <a:gridCol w="2612570">
                  <a:extLst>
                    <a:ext uri="{9D8B030D-6E8A-4147-A177-3AD203B41FA5}">
                      <a16:colId xmlns:a16="http://schemas.microsoft.com/office/drawing/2014/main" val="3481939807"/>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I-ontwikkeling</a:t>
                      </a:r>
                    </a:p>
                  </a:txBody>
                  <a:tcPr/>
                </a:tc>
                <a:tc>
                  <a:txBody>
                    <a:bodyPr/>
                    <a:lstStyle/>
                    <a:p>
                      <a:r>
                        <a:rPr lang="nl-NL" sz="1000" dirty="0"/>
                        <a:t>Extensie op </a:t>
                      </a:r>
                      <a:r>
                        <a:rPr lang="nl-NL" sz="1000" dirty="0" err="1"/>
                        <a:t>Flask</a:t>
                      </a:r>
                      <a:r>
                        <a:rPr lang="nl-NL" sz="1000" dirty="0"/>
                        <a:t> voor het ontwikkelen van </a:t>
                      </a:r>
                      <a:r>
                        <a:rPr lang="nl-NL" sz="1000" dirty="0" err="1"/>
                        <a:t>RESTful</a:t>
                      </a:r>
                      <a:r>
                        <a:rPr lang="nl-NL" sz="1000" dirty="0"/>
                        <a:t>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dirty="0"/>
                    </a:p>
                  </a:txBody>
                  <a:tcPr/>
                </a:tc>
                <a:tc>
                  <a:txBody>
                    <a:bodyPr/>
                    <a:lstStyle/>
                    <a:p>
                      <a:r>
                        <a:rPr lang="nl-NL" sz="1000" dirty="0" err="1"/>
                        <a:t>Flask</a:t>
                      </a:r>
                      <a:r>
                        <a:rPr lang="nl-NL" sz="1000" dirty="0"/>
                        <a:t> </a:t>
                      </a:r>
                      <a:r>
                        <a:rPr lang="nl-NL" sz="1000" dirty="0" err="1"/>
                        <a:t>Restful</a:t>
                      </a:r>
                      <a:r>
                        <a:rPr lang="nl-NL" sz="1000" dirty="0"/>
                        <a:t> 0.3.6</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API documentatie generati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1.0.0b5</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Extensie op </a:t>
                      </a:r>
                      <a:r>
                        <a:rPr lang="nl-NL" sz="1000" dirty="0" err="1"/>
                        <a:t>Apispec</a:t>
                      </a:r>
                      <a:r>
                        <a:rPr lang="nl-NL" sz="1000" dirty="0"/>
                        <a:t> voor integratie met </a:t>
                      </a:r>
                      <a:r>
                        <a:rPr lang="nl-NL" sz="1000" dirty="0" err="1"/>
                        <a:t>webframework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web </a:t>
                      </a:r>
                      <a:r>
                        <a:rPr lang="nl-NL" sz="1000" dirty="0" err="1"/>
                        <a:t>framework</a:t>
                      </a:r>
                      <a:r>
                        <a:rPr lang="nl-NL" sz="1000" dirty="0"/>
                        <a:t> integratie</a:t>
                      </a:r>
                    </a:p>
                  </a:txBody>
                  <a:tcPr/>
                </a:tc>
                <a:extLst>
                  <a:ext uri="{0D108BD9-81ED-4DB2-BD59-A6C34878D82A}">
                    <a16:rowId xmlns:a16="http://schemas.microsoft.com/office/drawing/2014/main" val="19283892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Extensie op </a:t>
                      </a:r>
                      <a:r>
                        <a:rPr lang="nl-NL" sz="1000" dirty="0" err="1"/>
                        <a:t>Apispec</a:t>
                      </a:r>
                      <a:r>
                        <a:rPr lang="nl-NL" sz="1000" dirty="0"/>
                        <a:t> voor integratie met Marshmallo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Marshmallow integratie</a:t>
                      </a:r>
                    </a:p>
                  </a:txBody>
                  <a:tcPr/>
                </a:tc>
                <a:extLst>
                  <a:ext uri="{0D108BD9-81ED-4DB2-BD59-A6C34878D82A}">
                    <a16:rowId xmlns:a16="http://schemas.microsoft.com/office/drawing/2014/main" val="13051847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Arial"/>
                          <a:ea typeface="+mn-ea"/>
                          <a:cs typeface="+mn-cs"/>
                        </a:rPr>
                        <a:t>API-ontwikkeling</a:t>
                      </a:r>
                    </a:p>
                  </a:txBody>
                  <a:tcPr/>
                </a:tc>
                <a:tc>
                  <a:txBody>
                    <a:bodyPr/>
                    <a:lstStyle/>
                    <a:p>
                      <a:r>
                        <a:rPr lang="nl-NL" sz="1000" dirty="0"/>
                        <a:t>Ontwikkelplatform voor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Postman</a:t>
                      </a:r>
                    </a:p>
                  </a:txBody>
                  <a:tcPr/>
                </a:tc>
                <a:extLst>
                  <a:ext uri="{0D108BD9-81ED-4DB2-BD59-A6C34878D82A}">
                    <a16:rowId xmlns:a16="http://schemas.microsoft.com/office/drawing/2014/main" val="1593855294"/>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3/3</a:t>
            </a:r>
          </a:p>
        </p:txBody>
      </p:sp>
    </p:spTree>
    <p:extLst>
      <p:ext uri="{BB962C8B-B14F-4D97-AF65-F5344CB8AC3E}">
        <p14:creationId xmlns:p14="http://schemas.microsoft.com/office/powerpoint/2010/main" val="188258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8D848-D110-496F-AD28-2AE95E553C95}"/>
              </a:ext>
            </a:extLst>
          </p:cNvPr>
          <p:cNvSpPr>
            <a:spLocks noGrp="1"/>
          </p:cNvSpPr>
          <p:nvPr>
            <p:ph type="title"/>
          </p:nvPr>
        </p:nvSpPr>
        <p:spPr/>
        <p:txBody>
          <a:bodyPr/>
          <a:lstStyle/>
          <a:p>
            <a:r>
              <a:rPr lang="nl-NL" dirty="0"/>
              <a:t>Leeswijzer</a:t>
            </a:r>
          </a:p>
        </p:txBody>
      </p:sp>
      <p:sp>
        <p:nvSpPr>
          <p:cNvPr id="3" name="Tijdelijke aanduiding voor inhoud 2">
            <a:extLst>
              <a:ext uri="{FF2B5EF4-FFF2-40B4-BE49-F238E27FC236}">
                <a16:creationId xmlns:a16="http://schemas.microsoft.com/office/drawing/2014/main" id="{703326AC-DD39-415A-823D-1FD6D8613B4D}"/>
              </a:ext>
            </a:extLst>
          </p:cNvPr>
          <p:cNvSpPr>
            <a:spLocks noGrp="1"/>
          </p:cNvSpPr>
          <p:nvPr>
            <p:ph idx="1"/>
          </p:nvPr>
        </p:nvSpPr>
        <p:spPr/>
        <p:txBody>
          <a:bodyPr>
            <a:normAutofit fontScale="62500" lnSpcReduction="20000"/>
          </a:bodyPr>
          <a:lstStyle/>
          <a:p>
            <a:r>
              <a:rPr lang="nl-NL" dirty="0"/>
              <a:t>De diagrammen van dit document zijn gemaakt op basis van de </a:t>
            </a:r>
            <a:r>
              <a:rPr lang="nl-NL" dirty="0" err="1"/>
              <a:t>Archimate</a:t>
            </a:r>
            <a:r>
              <a:rPr lang="nl-NL" dirty="0"/>
              <a:t> standaard, dit is een modelleertaal van The Open Group, zie </a:t>
            </a:r>
            <a:r>
              <a:rPr lang="nl-NL" dirty="0">
                <a:hlinkClick r:id="rId2"/>
              </a:rPr>
              <a:t>https://www.opengroup.org/</a:t>
            </a:r>
            <a:r>
              <a:rPr lang="nl-NL" dirty="0"/>
              <a:t> . </a:t>
            </a:r>
            <a:r>
              <a:rPr lang="nl-NL" dirty="0" err="1"/>
              <a:t>Archimate</a:t>
            </a:r>
            <a:r>
              <a:rPr lang="nl-NL" dirty="0"/>
              <a:t> is voor het maken van een architectuurmodel, zie  </a:t>
            </a:r>
            <a:r>
              <a:rPr lang="nl-NL" dirty="0">
                <a:hlinkClick r:id="rId3"/>
              </a:rPr>
              <a:t>https://www.opengroup.org/archimate-forum/archimate-overview</a:t>
            </a:r>
            <a:r>
              <a:rPr lang="nl-NL" dirty="0"/>
              <a:t> .</a:t>
            </a:r>
          </a:p>
          <a:p>
            <a:r>
              <a:rPr lang="nl-NL" dirty="0"/>
              <a:t>Het model volgens de </a:t>
            </a:r>
            <a:r>
              <a:rPr lang="nl-NL" dirty="0" err="1"/>
              <a:t>Archimate</a:t>
            </a:r>
            <a:r>
              <a:rPr lang="nl-NL" dirty="0"/>
              <a:t> standaard is vastgelegd met behulp van het open source tool </a:t>
            </a:r>
            <a:r>
              <a:rPr lang="nl-NL" dirty="0" err="1"/>
              <a:t>Archi</a:t>
            </a:r>
            <a:r>
              <a:rPr lang="nl-NL" dirty="0"/>
              <a:t>, zie </a:t>
            </a:r>
            <a:r>
              <a:rPr lang="nl-NL" dirty="0">
                <a:hlinkClick r:id="rId4"/>
              </a:rPr>
              <a:t>https://www.archimatetool.com/</a:t>
            </a:r>
            <a:r>
              <a:rPr lang="nl-NL" dirty="0"/>
              <a:t> </a:t>
            </a:r>
          </a:p>
          <a:p>
            <a:r>
              <a:rPr lang="nl-NL" dirty="0"/>
              <a:t>Elke paragraaf begint met een metamodel van de modelelementen van </a:t>
            </a:r>
            <a:r>
              <a:rPr lang="nl-NL" dirty="0" err="1"/>
              <a:t>Archimate</a:t>
            </a:r>
            <a:r>
              <a:rPr lang="nl-NL" dirty="0"/>
              <a:t> die in die paragraaf worden gebruikt. De paragrafen zijn:</a:t>
            </a:r>
          </a:p>
          <a:p>
            <a:pPr lvl="1"/>
            <a:r>
              <a:rPr lang="nl-NL" dirty="0"/>
              <a:t>Motivatie en doelen, zie sheet #04 voor het metamodel</a:t>
            </a:r>
          </a:p>
          <a:p>
            <a:pPr lvl="1"/>
            <a:r>
              <a:rPr lang="nl-NL" dirty="0"/>
              <a:t>Bedrijfsarchitectuur, zie sheet #12 voor het metamodel</a:t>
            </a:r>
          </a:p>
          <a:p>
            <a:pPr lvl="1"/>
            <a:r>
              <a:rPr lang="nl-NL" dirty="0"/>
              <a:t>Informatiearchitectuur, zie sheet #18 voor het metamodel. Een uitzondering is de paragraaf met de softwarearchitectuur. Die is uitgewerkt volgens het C4-model, zie </a:t>
            </a:r>
            <a:r>
              <a:rPr lang="nl-NL" dirty="0">
                <a:hlinkClick r:id="rId5"/>
              </a:rPr>
              <a:t>https://www.infoq.com/articles/C4-architecture-model/</a:t>
            </a:r>
            <a:r>
              <a:rPr lang="nl-NL" dirty="0"/>
              <a:t> . Het metamodel van het C4-model hiervan is uitgewerkt in </a:t>
            </a:r>
            <a:r>
              <a:rPr lang="nl-NL" dirty="0" err="1"/>
              <a:t>Archimate</a:t>
            </a:r>
            <a:r>
              <a:rPr lang="nl-NL" dirty="0"/>
              <a:t>, zie sheet #21. </a:t>
            </a:r>
          </a:p>
          <a:p>
            <a:r>
              <a:rPr lang="nl-NL" dirty="0"/>
              <a:t>Het C4-model van de softwarearchitectuur is ook in </a:t>
            </a:r>
            <a:r>
              <a:rPr lang="nl-NL" dirty="0" err="1"/>
              <a:t>Archimate</a:t>
            </a:r>
            <a:r>
              <a:rPr lang="nl-NL" dirty="0"/>
              <a:t> zelf vastgelegd, door middels labels gebruik te maken van een viewpoint in </a:t>
            </a:r>
            <a:r>
              <a:rPr lang="nl-NL" dirty="0" err="1"/>
              <a:t>Archi</a:t>
            </a:r>
            <a:r>
              <a:rPr lang="nl-NL" dirty="0"/>
              <a:t>, zie  </a:t>
            </a:r>
            <a:r>
              <a:rPr lang="nl-NL" dirty="0">
                <a:hlinkClick r:id="rId6"/>
              </a:rPr>
              <a:t>https://www.archimatetool.com/blog/2020/04/18/c4-model-architecture-viewpoint-and-archi-4-7/</a:t>
            </a:r>
            <a:r>
              <a:rPr lang="nl-NL" dirty="0"/>
              <a:t> hoe dit werkt in </a:t>
            </a:r>
            <a:r>
              <a:rPr lang="nl-NL" dirty="0" err="1"/>
              <a:t>Archi</a:t>
            </a:r>
            <a:r>
              <a:rPr lang="nl-NL" dirty="0"/>
              <a:t>.</a:t>
            </a:r>
          </a:p>
          <a:p>
            <a:r>
              <a:rPr lang="nl-NL" dirty="0"/>
              <a:t>De kleurstellingen van de </a:t>
            </a:r>
            <a:r>
              <a:rPr lang="nl-NL" dirty="0" err="1"/>
              <a:t>Archimate</a:t>
            </a:r>
            <a:r>
              <a:rPr lang="nl-NL" dirty="0"/>
              <a:t> standaard zijn gevolgd. De enige uitzondering is het model met de rollen en actoren, zie sheet #16. De kleur oranje is daar gebruikt om de rollen die in scope zijn te duiden. De overige rollen (in de kleur geel volgens de standaard) zijn buiten scope.</a:t>
            </a:r>
          </a:p>
        </p:txBody>
      </p:sp>
      <p:sp>
        <p:nvSpPr>
          <p:cNvPr id="4" name="Tijdelijke aanduiding voor voettekst 3">
            <a:extLst>
              <a:ext uri="{FF2B5EF4-FFF2-40B4-BE49-F238E27FC236}">
                <a16:creationId xmlns:a16="http://schemas.microsoft.com/office/drawing/2014/main" id="{AF707D0A-187A-4598-BEC0-38AE720D185D}"/>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14F9551-D13F-4A0D-A920-548558B72C4D}"/>
              </a:ext>
            </a:extLst>
          </p:cNvPr>
          <p:cNvSpPr>
            <a:spLocks noGrp="1"/>
          </p:cNvSpPr>
          <p:nvPr>
            <p:ph type="sldNum" sz="quarter" idx="12"/>
          </p:nvPr>
        </p:nvSpPr>
        <p:spPr/>
        <p:txBody>
          <a:bodyPr/>
          <a:lstStyle/>
          <a:p>
            <a:pPr algn="r"/>
            <a:fld id="{52CD5E70-B072-4ABF-98D2-981DEBBF7F7D}" type="slidenum">
              <a:rPr lang="nl-NL" smtClean="0"/>
              <a:pPr algn="r"/>
              <a:t>2</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9244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65D70B-BE1E-4E74-95C1-6B212A60C32F}"/>
              </a:ext>
            </a:extLst>
          </p:cNvPr>
          <p:cNvSpPr>
            <a:spLocks noGrp="1"/>
          </p:cNvSpPr>
          <p:nvPr>
            <p:ph type="title"/>
          </p:nvPr>
        </p:nvSpPr>
        <p:spPr/>
        <p:txBody>
          <a:bodyPr/>
          <a:lstStyle/>
          <a:p>
            <a:r>
              <a:rPr lang="nl-NL" dirty="0"/>
              <a:t>Begrippen</a:t>
            </a:r>
          </a:p>
        </p:txBody>
      </p:sp>
      <p:sp>
        <p:nvSpPr>
          <p:cNvPr id="3" name="Tijdelijke aanduiding voor inhoud 2">
            <a:extLst>
              <a:ext uri="{FF2B5EF4-FFF2-40B4-BE49-F238E27FC236}">
                <a16:creationId xmlns:a16="http://schemas.microsoft.com/office/drawing/2014/main" id="{431A05E7-2535-4193-AD75-234F5E2B6AEA}"/>
              </a:ext>
            </a:extLst>
          </p:cNvPr>
          <p:cNvSpPr>
            <a:spLocks noGrp="1"/>
          </p:cNvSpPr>
          <p:nvPr>
            <p:ph idx="1"/>
          </p:nvPr>
        </p:nvSpPr>
        <p:spPr/>
        <p:txBody>
          <a:bodyPr>
            <a:normAutofit fontScale="92500" lnSpcReduction="20000"/>
          </a:bodyPr>
          <a:lstStyle/>
          <a:p>
            <a:r>
              <a:rPr lang="nl-NL" dirty="0"/>
              <a:t>Belanghebbende: Burgers en bedrijven die (nadelige) invloed zouden kunnen ondervinden van het initiatief van een ander of van een besluit van een bevoegd gezag. De belanghebbende beoordeelt (voorgenomen) besluiten en kan bezwaar aantekenen, een zienswijze indienen of beroep aantekenen bij het bevoegd gezag.</a:t>
            </a:r>
          </a:p>
          <a:p>
            <a:r>
              <a:rPr lang="nl-NL" dirty="0"/>
              <a:t>Bevoegd gezag: Bestuursorganen die besluiten nemen. Overheidsorganisaties kunnen voor de uitvoering taken beleggen bij uitvoeringspartners. Een bevoegd gezag kan ook mandaat verlenen aan een uitvoeringspartner om besluiten te nemen in de taakuitvoering.</a:t>
            </a:r>
          </a:p>
          <a:p>
            <a:r>
              <a:rPr lang="nl-NL" dirty="0"/>
              <a:t>Opdrachtgever: Verantwoordelijkheid voor het aansturen van uitvoeringspartners.</a:t>
            </a:r>
          </a:p>
          <a:p>
            <a:r>
              <a:rPr lang="nl-NL" dirty="0"/>
              <a:t>Uitvoeringspartner: Private of overheidsorganisatie die als opdrachtnemer taken uitvoert in opdracht van een overheidsorganisatie.</a:t>
            </a:r>
          </a:p>
          <a:p>
            <a:endParaRPr lang="nl-NL" dirty="0"/>
          </a:p>
        </p:txBody>
      </p:sp>
      <p:sp>
        <p:nvSpPr>
          <p:cNvPr id="4" name="Tijdelijke aanduiding voor voettekst 3">
            <a:extLst>
              <a:ext uri="{FF2B5EF4-FFF2-40B4-BE49-F238E27FC236}">
                <a16:creationId xmlns:a16="http://schemas.microsoft.com/office/drawing/2014/main" id="{C1E9B346-12DE-4B45-9F8D-66E073DEEDF9}"/>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DBFBBBA-41D4-4A52-90E5-02184C870438}"/>
              </a:ext>
            </a:extLst>
          </p:cNvPr>
          <p:cNvSpPr>
            <a:spLocks noGrp="1"/>
          </p:cNvSpPr>
          <p:nvPr>
            <p:ph type="sldNum" sz="quarter" idx="12"/>
          </p:nvPr>
        </p:nvSpPr>
        <p:spPr/>
        <p:txBody>
          <a:bodyPr/>
          <a:lstStyle/>
          <a:p>
            <a:pPr algn="r"/>
            <a:fld id="{52CD5E70-B072-4ABF-98D2-981DEBBF7F7D}" type="slidenum">
              <a:rPr lang="nl-NL" smtClean="0"/>
              <a:pPr algn="r"/>
              <a:t>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0481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725177" y="4807512"/>
            <a:ext cx="2895600" cy="138499"/>
          </a:xfrm>
        </p:spPr>
        <p:txBody>
          <a:bodyPr anchor="t">
            <a:normAutofit/>
          </a:bodyPr>
          <a:lstStyle/>
          <a:p>
            <a:pPr>
              <a:spcAft>
                <a:spcPts val="600"/>
              </a:spcAft>
            </a:pPr>
            <a:r>
              <a:rPr lang="nl-NL" dirty="0"/>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4"/>
          </p:nvPr>
        </p:nvSpPr>
        <p:spPr>
          <a:xfrm>
            <a:off x="6266424" y="4807512"/>
            <a:ext cx="2133600" cy="138499"/>
          </a:xfrm>
        </p:spPr>
        <p:txBody>
          <a:bodyPr anchor="t">
            <a:normAutofit/>
          </a:bodyPr>
          <a:lstStyle/>
          <a:p>
            <a:pPr algn="r">
              <a:spcAft>
                <a:spcPts val="600"/>
              </a:spcAft>
            </a:pPr>
            <a:fld id="{52CD5E70-B072-4ABF-98D2-981DEBBF7F7D}" type="slidenum">
              <a:rPr lang="nl-NL" smtClean="0"/>
              <a:pPr algn="r">
                <a:spcAft>
                  <a:spcPts val="600"/>
                </a:spcAft>
              </a:pPr>
              <a:t>4</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498" y="1428750"/>
            <a:ext cx="6943487" cy="1276030"/>
          </a:xfrm>
        </p:spPr>
        <p:txBody>
          <a:bodyPr>
            <a:normAutofit/>
          </a:bodyPr>
          <a:lstStyle/>
          <a:p>
            <a:pPr>
              <a:spcAft>
                <a:spcPts val="600"/>
              </a:spcAft>
            </a:pPr>
            <a:r>
              <a:rPr lang="nl-NL" dirty="0"/>
              <a:t>Dit onderdeel beschrijft de stakeholders, waarden, resultaten, drijfveren, beleidsdoelen, principes en beperkingen (wetgeving en standaarden).</a:t>
            </a:r>
          </a:p>
        </p:txBody>
      </p:sp>
      <p:pic>
        <p:nvPicPr>
          <p:cNvPr id="5" name="Afbeelding 4">
            <a:extLst>
              <a:ext uri="{FF2B5EF4-FFF2-40B4-BE49-F238E27FC236}">
                <a16:creationId xmlns:a16="http://schemas.microsoft.com/office/drawing/2014/main" id="{53ED9247-3297-416B-ADEE-1D47E37075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6567" y="2228370"/>
            <a:ext cx="6033081" cy="2579142"/>
          </a:xfrm>
          <a:prstGeom prst="rect">
            <a:avLst/>
          </a:prstGeom>
          <a:noFill/>
        </p:spPr>
      </p:pic>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Motivatie en doelen</a:t>
            </a:r>
          </a:p>
        </p:txBody>
      </p:sp>
    </p:spTree>
    <p:extLst>
      <p:ext uri="{BB962C8B-B14F-4D97-AF65-F5344CB8AC3E}">
        <p14:creationId xmlns:p14="http://schemas.microsoft.com/office/powerpoint/2010/main" val="247026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Motivatie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70000" lnSpcReduction="20000"/>
          </a:bodyPr>
          <a:lstStyle/>
          <a:p>
            <a:r>
              <a:rPr lang="nl-NL" dirty="0"/>
              <a:t>Allereerst is gekeken naar de user </a:t>
            </a:r>
            <a:r>
              <a:rPr lang="nl-NL" dirty="0" err="1"/>
              <a:t>stories</a:t>
            </a:r>
            <a:r>
              <a:rPr lang="nl-NL" dirty="0"/>
              <a:t>. Daaruit is afgeleid dat Transparantie van besluitvorming en openbaarheid van algoritmen bijdragen aan de drijfveer dat de overheid transparant wil zijn. Daarnaast wil de overheid compliant zijn en dus voldoen aan de wet- en regelgeving. Het AR draagt </a:t>
            </a:r>
            <a:r>
              <a:rPr lang="nl-NL" u="sng" dirty="0"/>
              <a:t>indirect</a:t>
            </a:r>
            <a:r>
              <a:rPr lang="nl-NL" dirty="0"/>
              <a:t> bij aan de transparantie van besluitvorming. Indirect omdat het AR </a:t>
            </a:r>
            <a:r>
              <a:rPr lang="nl-NL" u="sng" dirty="0"/>
              <a:t>geen</a:t>
            </a:r>
            <a:r>
              <a:rPr lang="nl-NL" dirty="0"/>
              <a:t> inzicht geeft op het niveau van een individueel besluit.</a:t>
            </a:r>
          </a:p>
          <a:p>
            <a:r>
              <a:rPr lang="nl-NL" dirty="0"/>
              <a:t>Vervolgens is gekeken welke richtlijnen dan moeten worden meegegeven. Die zijn gebaseerd op de </a:t>
            </a:r>
            <a:r>
              <a:rPr lang="nl-NL" b="1" dirty="0"/>
              <a:t>principes</a:t>
            </a:r>
            <a:r>
              <a:rPr lang="nl-NL" dirty="0"/>
              <a:t>:</a:t>
            </a:r>
          </a:p>
          <a:p>
            <a:pPr lvl="1"/>
            <a:r>
              <a:rPr lang="nl-NL" dirty="0"/>
              <a:t>Het AR is open</a:t>
            </a:r>
          </a:p>
          <a:p>
            <a:pPr lvl="1"/>
            <a:r>
              <a:rPr lang="nl-NL" dirty="0"/>
              <a:t>Het AR wisselt data uit volgens een open format</a:t>
            </a:r>
          </a:p>
          <a:p>
            <a:pPr lvl="1"/>
            <a:r>
              <a:rPr lang="nl-NL" dirty="0"/>
              <a:t>Het AR is compliant.</a:t>
            </a:r>
          </a:p>
          <a:p>
            <a:r>
              <a:rPr lang="nl-NL" dirty="0"/>
              <a:t>De daaruit afgeleide </a:t>
            </a:r>
            <a:r>
              <a:rPr lang="nl-NL" b="1" dirty="0"/>
              <a:t>richtlijnen</a:t>
            </a:r>
            <a:r>
              <a:rPr lang="nl-NL" dirty="0"/>
              <a:t> zijn (op volgende sheets in detail uitgewerkt):</a:t>
            </a:r>
          </a:p>
          <a:p>
            <a:pPr lvl="1"/>
            <a:r>
              <a:rPr lang="nl-NL" dirty="0"/>
              <a:t>De API van het AR gebruikt JSON (open)</a:t>
            </a:r>
          </a:p>
          <a:p>
            <a:pPr lvl="1"/>
            <a:r>
              <a:rPr lang="nl-NL" dirty="0"/>
              <a:t>De API van het AR is beschreven (open)</a:t>
            </a:r>
          </a:p>
          <a:p>
            <a:pPr lvl="1"/>
            <a:r>
              <a:rPr lang="nl-NL" dirty="0"/>
              <a:t>De API van het AR is gedocumenteerd, dit impliceert dat er een informatiemodel is (open)</a:t>
            </a:r>
          </a:p>
          <a:p>
            <a:pPr lvl="1"/>
            <a:r>
              <a:rPr lang="nl-NL" dirty="0"/>
              <a:t>Voor het AR is een open standaard ontwikkeld (open uitwisseling van data)</a:t>
            </a:r>
          </a:p>
          <a:p>
            <a:pPr lvl="1"/>
            <a:r>
              <a:rPr lang="nl-NL" dirty="0"/>
              <a:t>Het AR voldoet aan de WCAG eisen om te voldoen aan </a:t>
            </a:r>
            <a:r>
              <a:rPr lang="nl-NL" dirty="0" err="1"/>
              <a:t>Digitoegankelijkheid</a:t>
            </a:r>
            <a:r>
              <a:rPr lang="nl-NL" dirty="0"/>
              <a:t> (compliance).</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41838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Motivatiemodel</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dirty="0"/>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6</a:t>
            </a:fld>
            <a:endParaRPr lang="nl-NL"/>
          </a:p>
        </p:txBody>
      </p:sp>
      <p:pic>
        <p:nvPicPr>
          <p:cNvPr id="6" name="Afbeelding 5">
            <a:extLst>
              <a:ext uri="{FF2B5EF4-FFF2-40B4-BE49-F238E27FC236}">
                <a16:creationId xmlns:a16="http://schemas.microsoft.com/office/drawing/2014/main" id="{2B4D1DDC-3042-1906-64FE-EFB17F8E8C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144921"/>
            <a:ext cx="7151862" cy="3529404"/>
          </a:xfrm>
          <a:prstGeom prst="rect">
            <a:avLst/>
          </a:prstGeom>
        </p:spPr>
      </p:pic>
    </p:spTree>
    <p:extLst>
      <p:ext uri="{BB962C8B-B14F-4D97-AF65-F5344CB8AC3E}">
        <p14:creationId xmlns:p14="http://schemas.microsoft.com/office/powerpoint/2010/main" val="336820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highlight>
                  <a:srgbClr val="FFFF00"/>
                </a:highlight>
              </a:rPr>
              <a:t>Richtlijnen voor de open standaard</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a:xfrm>
            <a:off x="571500" y="1428750"/>
            <a:ext cx="7837488" cy="3273879"/>
          </a:xfrm>
        </p:spPr>
        <p:txBody>
          <a:bodyPr>
            <a:normAutofit fontScale="85000" lnSpcReduction="20000"/>
          </a:bodyPr>
          <a:lstStyle/>
          <a:p>
            <a:r>
              <a:rPr lang="nl-NL" dirty="0"/>
              <a:t>De open standaard voor het AR:</a:t>
            </a:r>
          </a:p>
          <a:p>
            <a:pPr lvl="1"/>
            <a:r>
              <a:rPr lang="nl-NL" dirty="0"/>
              <a:t>Is ontwikkeld en beheerd in een open proces volgens de standaard Beheer- en </a:t>
            </a:r>
            <a:r>
              <a:rPr lang="nl-NL" dirty="0" err="1"/>
              <a:t>OntwikkelModel</a:t>
            </a:r>
            <a:r>
              <a:rPr lang="nl-NL" dirty="0"/>
              <a:t> voor Open Standaarden (BOMOS).</a:t>
            </a:r>
          </a:p>
          <a:p>
            <a:pPr lvl="1"/>
            <a:r>
              <a:rPr lang="nl-NL" dirty="0"/>
              <a:t>Is in beheer bij een organisatie die open standaarden voor publicatie in beheer heeft (voorstel is KOOP, Kennis- en Exploitatiecentrum voor Officiële Overheidspublicaties).</a:t>
            </a:r>
          </a:p>
          <a:p>
            <a:pPr lvl="1"/>
            <a:r>
              <a:rPr lang="nl-NL" dirty="0"/>
              <a:t>Is geschikt om metadata te publiceren op een portaal met officiële overheidsinformatie van de Nederlandse overheid (overheid.nl).</a:t>
            </a:r>
          </a:p>
          <a:p>
            <a:pPr lvl="1"/>
            <a:r>
              <a:rPr lang="nl-NL" dirty="0"/>
              <a:t>Is gebaseerd op de open standaard Overheid.nl Web Metadata (OWMS).</a:t>
            </a:r>
          </a:p>
          <a:p>
            <a:pPr lvl="1"/>
            <a:r>
              <a:rPr lang="nl-NL" dirty="0"/>
              <a:t>Is gebaseerd op de open standaard Dublin </a:t>
            </a:r>
            <a:r>
              <a:rPr lang="nl-NL" dirty="0" err="1"/>
              <a:t>Core</a:t>
            </a:r>
            <a:r>
              <a:rPr lang="nl-NL" dirty="0"/>
              <a:t> Metadata </a:t>
            </a:r>
            <a:r>
              <a:rPr lang="nl-NL" dirty="0" err="1"/>
              <a:t>Initiative</a:t>
            </a:r>
            <a:r>
              <a:rPr lang="nl-NL" dirty="0"/>
              <a:t> (DCMI).</a:t>
            </a:r>
          </a:p>
          <a:p>
            <a:pPr lvl="1"/>
            <a:r>
              <a:rPr lang="nl-NL" dirty="0">
                <a:highlight>
                  <a:srgbClr val="FFFF00"/>
                </a:highlight>
              </a:rPr>
              <a:t>Houdt rekening met de in ontwikkeling zijnde standaard Thesaurus en Ontologie Overheidsinformatie (TOOI).</a:t>
            </a:r>
          </a:p>
          <a:p>
            <a:pPr lvl="1"/>
            <a:endParaRPr lang="nl-NL" dirty="0"/>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7</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958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t>Richtlijnen voor het gebruik van </a:t>
            </a:r>
            <a:r>
              <a:rPr lang="nl-NL" dirty="0" err="1"/>
              <a:t>API’s</a:t>
            </a:r>
            <a:endParaRPr lang="nl-NL" dirty="0"/>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a:bodyPr>
          <a:lstStyle/>
          <a:p>
            <a:r>
              <a:rPr lang="nl-NL" dirty="0"/>
              <a:t>De </a:t>
            </a:r>
            <a:r>
              <a:rPr lang="nl-NL" dirty="0" err="1"/>
              <a:t>API’s</a:t>
            </a:r>
            <a:r>
              <a:rPr lang="nl-NL" dirty="0"/>
              <a:t> die voor het AR worden ontwikkeld voldoen aan:</a:t>
            </a:r>
          </a:p>
          <a:p>
            <a:pPr lvl="1"/>
            <a:r>
              <a:rPr lang="nl-NL" dirty="0"/>
              <a:t>Beschrijving API: De beschrijving van de API voldoet aan de standaard </a:t>
            </a:r>
            <a:r>
              <a:rPr lang="nl-NL" dirty="0" err="1"/>
              <a:t>OpenAPI</a:t>
            </a:r>
            <a:r>
              <a:rPr lang="nl-NL" dirty="0"/>
              <a:t> </a:t>
            </a:r>
            <a:r>
              <a:rPr lang="nl-NL" dirty="0" err="1"/>
              <a:t>Specification</a:t>
            </a:r>
            <a:r>
              <a:rPr lang="nl-NL" dirty="0"/>
              <a:t> voor het beschrijven van REST </a:t>
            </a:r>
            <a:r>
              <a:rPr lang="nl-NL" dirty="0" err="1"/>
              <a:t>APIs</a:t>
            </a:r>
            <a:r>
              <a:rPr lang="nl-NL" dirty="0"/>
              <a:t>.</a:t>
            </a:r>
          </a:p>
          <a:p>
            <a:pPr lvl="1"/>
            <a:r>
              <a:rPr lang="nl-NL" dirty="0"/>
              <a:t>Documentatie API: De opzet en documentatie van de API voldoet aan de standaard REST-API Design Rules voor het structureren en documenteren van REST </a:t>
            </a:r>
            <a:r>
              <a:rPr lang="nl-NL" dirty="0" err="1"/>
              <a:t>API’s</a:t>
            </a:r>
            <a:r>
              <a:rPr lang="nl-NL" dirty="0"/>
              <a:t>.</a:t>
            </a:r>
          </a:p>
          <a:p>
            <a:pPr lvl="1"/>
            <a:r>
              <a:rPr lang="nl-NL" dirty="0"/>
              <a:t>Beveiliging API: De beveiliging van de API voldoet aan de standaard NL GOV Assurance profile </a:t>
            </a:r>
            <a:r>
              <a:rPr lang="nl-NL" dirty="0" err="1"/>
              <a:t>for</a:t>
            </a:r>
            <a:r>
              <a:rPr lang="nl-NL" dirty="0"/>
              <a:t> </a:t>
            </a:r>
            <a:r>
              <a:rPr lang="nl-NL" dirty="0" err="1"/>
              <a:t>OAuth</a:t>
            </a:r>
            <a:r>
              <a:rPr lang="nl-NL" dirty="0"/>
              <a:t> 2.0 voor het beveiligd autoriseren van toegang tot REST </a:t>
            </a:r>
            <a:r>
              <a:rPr lang="nl-NL" dirty="0" err="1"/>
              <a:t>API’s</a:t>
            </a:r>
            <a:r>
              <a:rPr lang="nl-NL" dirty="0"/>
              <a:t>.</a:t>
            </a:r>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8</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372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ej6WICOGU.cSvpJzcFz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potx" id="{EAE7A40C-FAA6-4157-BDC8-84FEF4A6CBC5}" vid="{3006CE8F-273C-4C05-A19A-0D341ECBC10E}"/>
    </a:ext>
  </a:ext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ZH PWP sjabloon 2021</Template>
  <TotalTime>954</TotalTime>
  <Words>2516</Words>
  <Application>Microsoft Office PowerPoint</Application>
  <PresentationFormat>Diavoorstelling (16:9)</PresentationFormat>
  <Paragraphs>239</Paragraphs>
  <Slides>29</Slides>
  <Notes>1</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29</vt:i4>
      </vt:variant>
    </vt:vector>
  </HeadingPairs>
  <TitlesOfParts>
    <vt:vector size="35" baseType="lpstr">
      <vt:lpstr>Arial</vt:lpstr>
      <vt:lpstr>Calibri</vt:lpstr>
      <vt:lpstr>Georgia</vt:lpstr>
      <vt:lpstr>Wingdings</vt:lpstr>
      <vt:lpstr>Provincie Zuid Holland 16x9</vt:lpstr>
      <vt:lpstr>think-cell Slide</vt:lpstr>
      <vt:lpstr>Algoritmeregister</vt:lpstr>
      <vt:lpstr>Documenthistorie</vt:lpstr>
      <vt:lpstr>Leeswijzer</vt:lpstr>
      <vt:lpstr>Begrippen</vt:lpstr>
      <vt:lpstr>Motivatie en doelen</vt:lpstr>
      <vt:lpstr>Motivatiemodel</vt:lpstr>
      <vt:lpstr>Motivatiemodel</vt:lpstr>
      <vt:lpstr>Richtlijnen voor de open standaard</vt:lpstr>
      <vt:lpstr>Richtlijnen voor het gebruik van API’s</vt:lpstr>
      <vt:lpstr>Richtlijnen voor de ontwikkelde applicaties</vt:lpstr>
      <vt:lpstr>Doelenmodel</vt:lpstr>
      <vt:lpstr>Doelenmodel</vt:lpstr>
      <vt:lpstr>Bedrijfsarchitectuur</vt:lpstr>
      <vt:lpstr>Bedrijfsobjectenmodel</vt:lpstr>
      <vt:lpstr>Bedrijfsobjectenmodel</vt:lpstr>
      <vt:lpstr>Rollen en actoren</vt:lpstr>
      <vt:lpstr>Rollen en actoren</vt:lpstr>
      <vt:lpstr>Rollen in scope</vt:lpstr>
      <vt:lpstr>Rolverdeling besluitvorming en uitvoering</vt:lpstr>
      <vt:lpstr>Informatiearchitectuur</vt:lpstr>
      <vt:lpstr>Registraties en applicaties</vt:lpstr>
      <vt:lpstr>Registraties en applicaties</vt:lpstr>
      <vt:lpstr>Softwarearchitectuur</vt:lpstr>
      <vt:lpstr>Contextdiagram Algoritme register</vt:lpstr>
      <vt:lpstr>Containerdiagram Algoritme register</vt:lpstr>
      <vt:lpstr>Componentdiagram Backend API applicatie</vt:lpstr>
      <vt:lpstr>Softwarestack 1/3</vt:lpstr>
      <vt:lpstr>Softwarestack 2/3</vt:lpstr>
      <vt:lpstr>Softwarestack 3/3</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ndre Batenburg</dc:creator>
  <cp:lastModifiedBy>Andre Batenburg</cp:lastModifiedBy>
  <cp:revision>1</cp:revision>
  <dcterms:created xsi:type="dcterms:W3CDTF">2021-07-02T13:01:29Z</dcterms:created>
  <dcterms:modified xsi:type="dcterms:W3CDTF">2022-11-04T14:54:41Z</dcterms:modified>
</cp:coreProperties>
</file>